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ags/tag47.xml" ContentType="application/vnd.openxmlformats-officedocument.presentationml.tags+xml"/>
  <Override PartName="/ppt/charts/chart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8.xml" ContentType="application/vnd.openxmlformats-officedocument.presentationml.tags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49.xml" ContentType="application/vnd.openxmlformats-officedocument.presentationml.tags+xml"/>
  <Override PartName="/ppt/charts/chart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50.xml" ContentType="application/vnd.openxmlformats-officedocument.presentationml.tags+xml"/>
  <Override PartName="/ppt/charts/chart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8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9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85"/>
  </p:notesMasterIdLst>
  <p:sldIdLst>
    <p:sldId id="256" r:id="rId4"/>
    <p:sldId id="326" r:id="rId5"/>
    <p:sldId id="327" r:id="rId6"/>
    <p:sldId id="303" r:id="rId7"/>
    <p:sldId id="305" r:id="rId8"/>
    <p:sldId id="322" r:id="rId9"/>
    <p:sldId id="307" r:id="rId10"/>
    <p:sldId id="325" r:id="rId11"/>
    <p:sldId id="309" r:id="rId12"/>
    <p:sldId id="340" r:id="rId13"/>
    <p:sldId id="341" r:id="rId14"/>
    <p:sldId id="342" r:id="rId15"/>
    <p:sldId id="311" r:id="rId16"/>
    <p:sldId id="319" r:id="rId17"/>
    <p:sldId id="338" r:id="rId18"/>
    <p:sldId id="343" r:id="rId19"/>
    <p:sldId id="344" r:id="rId20"/>
    <p:sldId id="328" r:id="rId21"/>
    <p:sldId id="316" r:id="rId22"/>
    <p:sldId id="299" r:id="rId23"/>
    <p:sldId id="315" r:id="rId24"/>
    <p:sldId id="317" r:id="rId25"/>
    <p:sldId id="313" r:id="rId26"/>
    <p:sldId id="324" r:id="rId27"/>
    <p:sldId id="318" r:id="rId28"/>
    <p:sldId id="323" r:id="rId29"/>
    <p:sldId id="331" r:id="rId30"/>
    <p:sldId id="330" r:id="rId31"/>
    <p:sldId id="345" r:id="rId32"/>
    <p:sldId id="347" r:id="rId33"/>
    <p:sldId id="348" r:id="rId34"/>
    <p:sldId id="349" r:id="rId35"/>
    <p:sldId id="350" r:id="rId36"/>
    <p:sldId id="351" r:id="rId37"/>
    <p:sldId id="352" r:id="rId38"/>
    <p:sldId id="332" r:id="rId39"/>
    <p:sldId id="301" r:id="rId40"/>
    <p:sldId id="353" r:id="rId41"/>
    <p:sldId id="354" r:id="rId42"/>
    <p:sldId id="333" r:id="rId43"/>
    <p:sldId id="302" r:id="rId44"/>
    <p:sldId id="306" r:id="rId45"/>
    <p:sldId id="304" r:id="rId46"/>
    <p:sldId id="257" r:id="rId47"/>
    <p:sldId id="258" r:id="rId48"/>
    <p:sldId id="260" r:id="rId49"/>
    <p:sldId id="261" r:id="rId50"/>
    <p:sldId id="262" r:id="rId51"/>
    <p:sldId id="263" r:id="rId52"/>
    <p:sldId id="264" r:id="rId53"/>
    <p:sldId id="265" r:id="rId54"/>
    <p:sldId id="266" r:id="rId55"/>
    <p:sldId id="267" r:id="rId56"/>
    <p:sldId id="268" r:id="rId57"/>
    <p:sldId id="269" r:id="rId58"/>
    <p:sldId id="270" r:id="rId59"/>
    <p:sldId id="271" r:id="rId60"/>
    <p:sldId id="272" r:id="rId61"/>
    <p:sldId id="273" r:id="rId62"/>
    <p:sldId id="274" r:id="rId63"/>
    <p:sldId id="275" r:id="rId64"/>
    <p:sldId id="276" r:id="rId65"/>
    <p:sldId id="277" r:id="rId66"/>
    <p:sldId id="278" r:id="rId67"/>
    <p:sldId id="279" r:id="rId68"/>
    <p:sldId id="280" r:id="rId69"/>
    <p:sldId id="281" r:id="rId70"/>
    <p:sldId id="282" r:id="rId71"/>
    <p:sldId id="283" r:id="rId72"/>
    <p:sldId id="284" r:id="rId73"/>
    <p:sldId id="285" r:id="rId74"/>
    <p:sldId id="286" r:id="rId75"/>
    <p:sldId id="287" r:id="rId76"/>
    <p:sldId id="288" r:id="rId77"/>
    <p:sldId id="289" r:id="rId78"/>
    <p:sldId id="290" r:id="rId79"/>
    <p:sldId id="291" r:id="rId80"/>
    <p:sldId id="292" r:id="rId81"/>
    <p:sldId id="293" r:id="rId82"/>
    <p:sldId id="294" r:id="rId83"/>
    <p:sldId id="295" r:id="rId84"/>
  </p:sldIdLst>
  <p:sldSz cx="9144000" cy="5143500" type="screen16x9"/>
  <p:notesSz cx="6858000" cy="9144000"/>
  <p:embeddedFontLst>
    <p:embeddedFont>
      <p:font typeface="Advent Pro Medium" panose="020B0604020202020204" charset="0"/>
      <p:regular r:id="rId86"/>
      <p:bold r:id="rId87"/>
      <p:italic r:id="rId88"/>
      <p:boldItalic r:id="rId89"/>
    </p:embeddedFont>
    <p:embeddedFont>
      <p:font typeface="Advent Pro SemiBold" panose="020B0604020202020204" charset="0"/>
      <p:regular r:id="rId90"/>
      <p:bold r:id="rId91"/>
      <p:italic r:id="rId92"/>
      <p:boldItalic r:id="rId93"/>
    </p:embeddedFont>
    <p:embeddedFont>
      <p:font typeface="Amatic SC" panose="00000500000000000000" pitchFamily="2" charset="-79"/>
      <p:regular r:id="rId94"/>
      <p:bold r:id="rId95"/>
    </p:embeddedFont>
    <p:embeddedFont>
      <p:font typeface="Calibri" panose="020F0502020204030204" pitchFamily="34" charset="0"/>
      <p:regular r:id="rId96"/>
      <p:bold r:id="rId97"/>
      <p:italic r:id="rId98"/>
      <p:boldItalic r:id="rId99"/>
    </p:embeddedFont>
    <p:embeddedFont>
      <p:font typeface="Fira Sans Condensed Medium" panose="020B0603050000020004" pitchFamily="34" charset="0"/>
      <p:regular r:id="rId100"/>
      <p:bold r:id="rId101"/>
      <p:italic r:id="rId102"/>
      <p:boldItalic r:id="rId103"/>
    </p:embeddedFont>
    <p:embeddedFont>
      <p:font typeface="Fira Sans Extra Condensed Medium" panose="020B0604020202020204" charset="0"/>
      <p:regular r:id="rId104"/>
      <p:bold r:id="rId105"/>
      <p:italic r:id="rId106"/>
      <p:boldItalic r:id="rId107"/>
    </p:embeddedFont>
    <p:embeddedFont>
      <p:font typeface="Livvic Light" pitchFamily="2" charset="0"/>
      <p:regular r:id="rId108"/>
      <p:italic r:id="rId109"/>
    </p:embeddedFont>
    <p:embeddedFont>
      <p:font typeface="Maven Pro" panose="020B0604020202020204" charset="0"/>
      <p:regular r:id="rId110"/>
      <p:bold r:id="rId111"/>
    </p:embeddedFont>
    <p:embeddedFont>
      <p:font typeface="Maven Pro SemiBold" panose="020B0604020202020204" charset="0"/>
      <p:regular r:id="rId112"/>
      <p:bold r:id="rId113"/>
    </p:embeddedFont>
    <p:embeddedFont>
      <p:font typeface="Nunito Light" pitchFamily="2" charset="0"/>
      <p:regular r:id="rId114"/>
      <p:italic r:id="rId115"/>
    </p:embeddedFont>
    <p:embeddedFont>
      <p:font typeface="Proxima Nova" panose="020B0604020202020204" charset="0"/>
      <p:regular r:id="rId116"/>
      <p:bold r:id="rId117"/>
      <p:italic r:id="rId118"/>
      <p:boldItalic r:id="rId119"/>
    </p:embeddedFont>
    <p:embeddedFont>
      <p:font typeface="Proxima Nova Semibold" panose="020B0604020202020204" charset="0"/>
      <p:regular r:id="rId120"/>
      <p:bold r:id="rId121"/>
      <p:boldItalic r:id="rId122"/>
    </p:embeddedFont>
    <p:embeddedFont>
      <p:font typeface="Roboto" panose="02000000000000000000" pitchFamily="2" charset="0"/>
      <p:regular r:id="rId123"/>
      <p:bold r:id="rId124"/>
      <p:italic r:id="rId125"/>
      <p:boldItalic r:id="rId126"/>
    </p:embeddedFont>
    <p:embeddedFont>
      <p:font typeface="Roboto Medium" panose="02000000000000000000" pitchFamily="2" charset="0"/>
      <p:regular r:id="rId127"/>
      <p:bold r:id="rId128"/>
      <p:italic r:id="rId129"/>
      <p:boldItalic r:id="rId130"/>
    </p:embeddedFont>
    <p:embeddedFont>
      <p:font typeface="Share Tech" panose="020B0604020202020204" charset="0"/>
      <p:regular r:id="rId131"/>
    </p:embeddedFont>
  </p:embeddedFontLst>
  <p:custDataLst>
    <p:tags r:id="rId13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26"/>
            <p14:sldId id="327"/>
            <p14:sldId id="303"/>
            <p14:sldId id="305"/>
            <p14:sldId id="322"/>
            <p14:sldId id="307"/>
            <p14:sldId id="325"/>
            <p14:sldId id="309"/>
            <p14:sldId id="340"/>
            <p14:sldId id="341"/>
            <p14:sldId id="342"/>
            <p14:sldId id="311"/>
            <p14:sldId id="319"/>
            <p14:sldId id="338"/>
            <p14:sldId id="343"/>
            <p14:sldId id="344"/>
            <p14:sldId id="328"/>
            <p14:sldId id="316"/>
            <p14:sldId id="299"/>
            <p14:sldId id="315"/>
            <p14:sldId id="317"/>
            <p14:sldId id="313"/>
            <p14:sldId id="324"/>
            <p14:sldId id="318"/>
            <p14:sldId id="323"/>
            <p14:sldId id="331"/>
            <p14:sldId id="330"/>
            <p14:sldId id="345"/>
            <p14:sldId id="347"/>
            <p14:sldId id="348"/>
            <p14:sldId id="349"/>
            <p14:sldId id="350"/>
            <p14:sldId id="351"/>
            <p14:sldId id="352"/>
            <p14:sldId id="332"/>
            <p14:sldId id="301"/>
            <p14:sldId id="353"/>
            <p14:sldId id="354"/>
            <p14:sldId id="333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8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FCC"/>
    <a:srgbClr val="000000"/>
    <a:srgbClr val="2A2A2A"/>
    <a:srgbClr val="E47452"/>
    <a:srgbClr val="1A5E8F"/>
    <a:srgbClr val="809AAC"/>
    <a:srgbClr val="A6CBC2"/>
    <a:srgbClr val="9FAEB9"/>
    <a:srgbClr val="5EFFFD"/>
    <a:srgbClr val="E89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792" autoAdjust="0"/>
  </p:normalViewPr>
  <p:slideViewPr>
    <p:cSldViewPr snapToGrid="0">
      <p:cViewPr varScale="1">
        <p:scale>
          <a:sx n="146" d="100"/>
          <a:sy n="146" d="100"/>
        </p:scale>
        <p:origin x="516" y="114"/>
      </p:cViewPr>
      <p:guideLst>
        <p:guide orient="horz" pos="1620"/>
        <p:guide pos="489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117" Type="http://schemas.openxmlformats.org/officeDocument/2006/relationships/font" Target="fonts/font32.fntdata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slide" Target="slides/slide81.xml"/><Relationship Id="rId89" Type="http://schemas.openxmlformats.org/officeDocument/2006/relationships/font" Target="fonts/font4.fntdata"/><Relationship Id="rId112" Type="http://schemas.openxmlformats.org/officeDocument/2006/relationships/font" Target="fonts/font27.fntdata"/><Relationship Id="rId133" Type="http://schemas.openxmlformats.org/officeDocument/2006/relationships/presProps" Target="presProps.xml"/><Relationship Id="rId16" Type="http://schemas.openxmlformats.org/officeDocument/2006/relationships/slide" Target="slides/slide13.xml"/><Relationship Id="rId107" Type="http://schemas.openxmlformats.org/officeDocument/2006/relationships/font" Target="fonts/font22.fntdata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102" Type="http://schemas.openxmlformats.org/officeDocument/2006/relationships/font" Target="fonts/font17.fntdata"/><Relationship Id="rId123" Type="http://schemas.openxmlformats.org/officeDocument/2006/relationships/font" Target="fonts/font38.fntdata"/><Relationship Id="rId128" Type="http://schemas.openxmlformats.org/officeDocument/2006/relationships/font" Target="fonts/font43.fntdata"/><Relationship Id="rId5" Type="http://schemas.openxmlformats.org/officeDocument/2006/relationships/slide" Target="slides/slide2.xml"/><Relationship Id="rId90" Type="http://schemas.openxmlformats.org/officeDocument/2006/relationships/font" Target="fonts/font5.fntdata"/><Relationship Id="rId95" Type="http://schemas.openxmlformats.org/officeDocument/2006/relationships/font" Target="fonts/font10.fntdata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slide" Target="slides/slide74.xml"/><Relationship Id="rId100" Type="http://schemas.openxmlformats.org/officeDocument/2006/relationships/font" Target="fonts/font15.fntdata"/><Relationship Id="rId105" Type="http://schemas.openxmlformats.org/officeDocument/2006/relationships/font" Target="fonts/font20.fntdata"/><Relationship Id="rId113" Type="http://schemas.openxmlformats.org/officeDocument/2006/relationships/font" Target="fonts/font28.fntdata"/><Relationship Id="rId118" Type="http://schemas.openxmlformats.org/officeDocument/2006/relationships/font" Target="fonts/font33.fntdata"/><Relationship Id="rId126" Type="http://schemas.openxmlformats.org/officeDocument/2006/relationships/font" Target="fonts/font41.fntdata"/><Relationship Id="rId134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slide" Target="slides/slide77.xml"/><Relationship Id="rId85" Type="http://schemas.openxmlformats.org/officeDocument/2006/relationships/notesMaster" Target="notesMasters/notesMaster1.xml"/><Relationship Id="rId93" Type="http://schemas.openxmlformats.org/officeDocument/2006/relationships/font" Target="fonts/font8.fntdata"/><Relationship Id="rId98" Type="http://schemas.openxmlformats.org/officeDocument/2006/relationships/font" Target="fonts/font13.fntdata"/><Relationship Id="rId121" Type="http://schemas.openxmlformats.org/officeDocument/2006/relationships/font" Target="fonts/font36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103" Type="http://schemas.openxmlformats.org/officeDocument/2006/relationships/font" Target="fonts/font18.fntdata"/><Relationship Id="rId108" Type="http://schemas.openxmlformats.org/officeDocument/2006/relationships/font" Target="fonts/font23.fntdata"/><Relationship Id="rId116" Type="http://schemas.openxmlformats.org/officeDocument/2006/relationships/font" Target="fonts/font31.fntdata"/><Relationship Id="rId124" Type="http://schemas.openxmlformats.org/officeDocument/2006/relationships/font" Target="fonts/font39.fntdata"/><Relationship Id="rId129" Type="http://schemas.openxmlformats.org/officeDocument/2006/relationships/font" Target="fonts/font4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slide" Target="slides/slide80.xml"/><Relationship Id="rId88" Type="http://schemas.openxmlformats.org/officeDocument/2006/relationships/font" Target="fonts/font3.fntdata"/><Relationship Id="rId91" Type="http://schemas.openxmlformats.org/officeDocument/2006/relationships/font" Target="fonts/font6.fntdata"/><Relationship Id="rId96" Type="http://schemas.openxmlformats.org/officeDocument/2006/relationships/font" Target="fonts/font11.fntdata"/><Relationship Id="rId111" Type="http://schemas.openxmlformats.org/officeDocument/2006/relationships/font" Target="fonts/font26.fntdata"/><Relationship Id="rId13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font" Target="fonts/font21.fntdata"/><Relationship Id="rId114" Type="http://schemas.openxmlformats.org/officeDocument/2006/relationships/font" Target="fonts/font29.fntdata"/><Relationship Id="rId119" Type="http://schemas.openxmlformats.org/officeDocument/2006/relationships/font" Target="fonts/font34.fntdata"/><Relationship Id="rId127" Type="http://schemas.openxmlformats.org/officeDocument/2006/relationships/font" Target="fonts/font42.fntdata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slide" Target="slides/slide78.xml"/><Relationship Id="rId86" Type="http://schemas.openxmlformats.org/officeDocument/2006/relationships/font" Target="fonts/font1.fntdata"/><Relationship Id="rId94" Type="http://schemas.openxmlformats.org/officeDocument/2006/relationships/font" Target="fonts/font9.fntdata"/><Relationship Id="rId99" Type="http://schemas.openxmlformats.org/officeDocument/2006/relationships/font" Target="fonts/font14.fntdata"/><Relationship Id="rId101" Type="http://schemas.openxmlformats.org/officeDocument/2006/relationships/font" Target="fonts/font16.fntdata"/><Relationship Id="rId122" Type="http://schemas.openxmlformats.org/officeDocument/2006/relationships/font" Target="fonts/font37.fntdata"/><Relationship Id="rId130" Type="http://schemas.openxmlformats.org/officeDocument/2006/relationships/font" Target="fonts/font45.fntdata"/><Relationship Id="rId135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font" Target="fonts/font24.fntdata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font" Target="fonts/font12.fntdata"/><Relationship Id="rId104" Type="http://schemas.openxmlformats.org/officeDocument/2006/relationships/font" Target="fonts/font19.fntdata"/><Relationship Id="rId120" Type="http://schemas.openxmlformats.org/officeDocument/2006/relationships/font" Target="fonts/font35.fntdata"/><Relationship Id="rId125" Type="http://schemas.openxmlformats.org/officeDocument/2006/relationships/font" Target="fonts/font40.fntdata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font" Target="fonts/font7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font" Target="fonts/font2.fntdata"/><Relationship Id="rId110" Type="http://schemas.openxmlformats.org/officeDocument/2006/relationships/font" Target="fonts/font25.fntdata"/><Relationship Id="rId115" Type="http://schemas.openxmlformats.org/officeDocument/2006/relationships/font" Target="fonts/font30.fntdata"/><Relationship Id="rId131" Type="http://schemas.openxmlformats.org/officeDocument/2006/relationships/font" Target="fonts/font46.fntdata"/><Relationship Id="rId136" Type="http://schemas.openxmlformats.org/officeDocument/2006/relationships/tableStyles" Target="tableStyles.xml"/><Relationship Id="rId61" Type="http://schemas.openxmlformats.org/officeDocument/2006/relationships/slide" Target="slides/slide58.xml"/><Relationship Id="rId82" Type="http://schemas.openxmlformats.org/officeDocument/2006/relationships/slide" Target="slides/slide79.xml"/><Relationship Id="rId19" Type="http://schemas.openxmlformats.org/officeDocument/2006/relationships/slide" Target="slides/slide1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_\Desktop\top%205%20pro%20stund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_\Desktop\top%205%20pro%20stunde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_\Desktop\top%205%20pro%20stunde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rtikel</a:t>
            </a:r>
            <a:r>
              <a:rPr lang="en-US" baseline="0" dirty="0"/>
              <a:t> pro </a:t>
            </a:r>
            <a:r>
              <a:rPr lang="en-US" baseline="0" dirty="0" err="1"/>
              <a:t>Einkauf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teil der Einkäuf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belle1!$A$2:$A$12</c:f>
              <c:numCache>
                <c:formatCode>#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cat>
          <c:val>
            <c:numRef>
              <c:f>Tabelle1!$B$2:$B$12</c:f>
              <c:numCache>
                <c:formatCode>0%</c:formatCode>
                <c:ptCount val="11"/>
                <c:pt idx="0">
                  <c:v>0.38362387744321186</c:v>
                </c:pt>
                <c:pt idx="1">
                  <c:v>0.30723718964606445</c:v>
                </c:pt>
                <c:pt idx="2">
                  <c:v>0.16143687268885368</c:v>
                </c:pt>
                <c:pt idx="3">
                  <c:v>8.980454305335446E-2</c:v>
                </c:pt>
                <c:pt idx="4">
                  <c:v>3.6027469624933965E-2</c:v>
                </c:pt>
                <c:pt idx="5">
                  <c:v>1.4263074484944533E-2</c:v>
                </c:pt>
                <c:pt idx="6">
                  <c:v>4.0147913365029056E-3</c:v>
                </c:pt>
                <c:pt idx="7">
                  <c:v>2.2187004754358162E-3</c:v>
                </c:pt>
                <c:pt idx="8">
                  <c:v>7.3956682514527208E-4</c:v>
                </c:pt>
                <c:pt idx="9">
                  <c:v>2.1130480718436345E-4</c:v>
                </c:pt>
                <c:pt idx="10">
                  <c:v>4.22609614368726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C2-4204-AA33-4AABD948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7602192"/>
        <c:axId val="300386368"/>
      </c:barChart>
      <c:catAx>
        <c:axId val="1357602192"/>
        <c:scaling>
          <c:orientation val="minMax"/>
        </c:scaling>
        <c:delete val="0"/>
        <c:axPos val="b"/>
        <c:numFmt formatCode="#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0386368"/>
        <c:crosses val="autoZero"/>
        <c:auto val="1"/>
        <c:lblAlgn val="ctr"/>
        <c:lblOffset val="100"/>
        <c:noMultiLvlLbl val="0"/>
      </c:catAx>
      <c:valAx>
        <c:axId val="300386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57602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pro Mona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on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25</c:f>
              <c:numCache>
                <c:formatCode>mmm\-yy</c:formatCode>
                <c:ptCount val="24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 formatCode="m/d/yyyy">
                  <c:v>42522</c:v>
                </c:pt>
                <c:pt idx="6" formatCode="m/d/yyyy">
                  <c:v>42552</c:v>
                </c:pt>
                <c:pt idx="7" formatCode="m/d/yyyy">
                  <c:v>42583</c:v>
                </c:pt>
                <c:pt idx="8" formatCode="m/d/yyyy">
                  <c:v>42614</c:v>
                </c:pt>
                <c:pt idx="9" formatCode="m/d/yyyy">
                  <c:v>42644</c:v>
                </c:pt>
                <c:pt idx="10" formatCode="m/d/yyyy">
                  <c:v>42675</c:v>
                </c:pt>
                <c:pt idx="11" formatCode="m/d/yyyy">
                  <c:v>42705</c:v>
                </c:pt>
                <c:pt idx="12" formatCode="m/d/yyyy">
                  <c:v>42736</c:v>
                </c:pt>
                <c:pt idx="13" formatCode="m/d/yyyy">
                  <c:v>42767</c:v>
                </c:pt>
                <c:pt idx="14" formatCode="m/d/yyyy">
                  <c:v>42795</c:v>
                </c:pt>
                <c:pt idx="15" formatCode="m/d/yyyy">
                  <c:v>42826</c:v>
                </c:pt>
                <c:pt idx="16" formatCode="m/d/yyyy">
                  <c:v>42856</c:v>
                </c:pt>
                <c:pt idx="17" formatCode="m/d/yyyy">
                  <c:v>42887</c:v>
                </c:pt>
                <c:pt idx="18" formatCode="m/d/yyyy">
                  <c:v>42917</c:v>
                </c:pt>
                <c:pt idx="19" formatCode="m/d/yyyy">
                  <c:v>42948</c:v>
                </c:pt>
                <c:pt idx="20" formatCode="m/d/yyyy">
                  <c:v>42979</c:v>
                </c:pt>
                <c:pt idx="21" formatCode="m/d/yyyy">
                  <c:v>43009</c:v>
                </c:pt>
                <c:pt idx="22" formatCode="m/d/yyyy">
                  <c:v>43040</c:v>
                </c:pt>
                <c:pt idx="23" formatCode="m/d/yyyy">
                  <c:v>43070</c:v>
                </c:pt>
              </c:numCache>
            </c:numRef>
          </c:cat>
          <c:val>
            <c:numRef>
              <c:f>Tabelle1!$B$2:$B$25</c:f>
              <c:numCache>
                <c:formatCode>General</c:formatCode>
                <c:ptCount val="24"/>
                <c:pt idx="0">
                  <c:v>233</c:v>
                </c:pt>
                <c:pt idx="1">
                  <c:v>268</c:v>
                </c:pt>
                <c:pt idx="2">
                  <c:v>380</c:v>
                </c:pt>
                <c:pt idx="3">
                  <c:v>308</c:v>
                </c:pt>
                <c:pt idx="4">
                  <c:v>392</c:v>
                </c:pt>
                <c:pt idx="5">
                  <c:v>307</c:v>
                </c:pt>
                <c:pt idx="6">
                  <c:v>229</c:v>
                </c:pt>
                <c:pt idx="7">
                  <c:v>212</c:v>
                </c:pt>
                <c:pt idx="8">
                  <c:v>218</c:v>
                </c:pt>
                <c:pt idx="9">
                  <c:v>688</c:v>
                </c:pt>
                <c:pt idx="10">
                  <c:v>2593</c:v>
                </c:pt>
                <c:pt idx="11">
                  <c:v>2316</c:v>
                </c:pt>
                <c:pt idx="12">
                  <c:v>2794</c:v>
                </c:pt>
                <c:pt idx="13">
                  <c:v>2480</c:v>
                </c:pt>
                <c:pt idx="14">
                  <c:v>2840</c:v>
                </c:pt>
                <c:pt idx="15">
                  <c:v>740</c:v>
                </c:pt>
                <c:pt idx="16">
                  <c:v>532</c:v>
                </c:pt>
                <c:pt idx="17">
                  <c:v>432</c:v>
                </c:pt>
                <c:pt idx="18">
                  <c:v>512</c:v>
                </c:pt>
                <c:pt idx="19">
                  <c:v>488</c:v>
                </c:pt>
                <c:pt idx="20">
                  <c:v>378</c:v>
                </c:pt>
                <c:pt idx="21">
                  <c:v>353</c:v>
                </c:pt>
                <c:pt idx="22">
                  <c:v>483</c:v>
                </c:pt>
                <c:pt idx="23">
                  <c:v>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0C-4676-A085-75D2E083AC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8013168"/>
        <c:axId val="670931920"/>
      </c:areaChart>
      <c:dateAx>
        <c:axId val="43801316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0931920"/>
        <c:crosses val="autoZero"/>
        <c:auto val="1"/>
        <c:lblOffset val="100"/>
        <c:baseTimeUnit val="months"/>
      </c:dateAx>
      <c:valAx>
        <c:axId val="670931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80131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1A5E8F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de-DE" sz="1800" b="0" i="0" dirty="0">
                <a:effectLst/>
              </a:rPr>
              <a:t>Welche Produkte wurden am meisten eingekauft? </a:t>
            </a:r>
            <a:endParaRPr lang="de-DE" dirty="0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1A5E8F">
                    <a:lumMod val="65000"/>
                    <a:lumOff val="35000"/>
                  </a:srgbClr>
                </a:solidFill>
              </a:defRPr>
            </a:pP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srgbClr val="1A5E8F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B$2:$B$11</c:f>
              <c:numCache>
                <c:formatCode>General</c:formatCode>
                <c:ptCount val="10"/>
                <c:pt idx="0">
                  <c:v>379</c:v>
                </c:pt>
                <c:pt idx="1">
                  <c:v>540</c:v>
                </c:pt>
                <c:pt idx="2">
                  <c:v>590</c:v>
                </c:pt>
                <c:pt idx="3">
                  <c:v>616</c:v>
                </c:pt>
                <c:pt idx="4">
                  <c:v>771</c:v>
                </c:pt>
                <c:pt idx="5">
                  <c:v>856</c:v>
                </c:pt>
                <c:pt idx="6">
                  <c:v>1025</c:v>
                </c:pt>
                <c:pt idx="7">
                  <c:v>1435</c:v>
                </c:pt>
                <c:pt idx="8">
                  <c:v>3325</c:v>
                </c:pt>
                <c:pt idx="9">
                  <c:v>5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127693296"/>
        <c:axId val="214589248"/>
      </c:barChart>
      <c:line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Shar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C$2:$C$11</c:f>
              <c:numCache>
                <c:formatCode>0%</c:formatCode>
                <c:ptCount val="10"/>
                <c:pt idx="0">
                  <c:v>1.7999999999999999E-2</c:v>
                </c:pt>
                <c:pt idx="1">
                  <c:v>2.5999999999999999E-2</c:v>
                </c:pt>
                <c:pt idx="2">
                  <c:v>2.9000000000000001E-2</c:v>
                </c:pt>
                <c:pt idx="3">
                  <c:v>0.03</c:v>
                </c:pt>
                <c:pt idx="4">
                  <c:v>3.7999999999999999E-2</c:v>
                </c:pt>
                <c:pt idx="5">
                  <c:v>4.2000000000000003E-2</c:v>
                </c:pt>
                <c:pt idx="6">
                  <c:v>0.05</c:v>
                </c:pt>
                <c:pt idx="7">
                  <c:v>7.0000000000000007E-2</c:v>
                </c:pt>
                <c:pt idx="8">
                  <c:v>0.16200000000000001</c:v>
                </c:pt>
                <c:pt idx="9">
                  <c:v>0.267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7238544"/>
        <c:axId val="1061972912"/>
      </c:lineChart>
      <c:catAx>
        <c:axId val="112769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4589248"/>
        <c:crosses val="autoZero"/>
        <c:auto val="1"/>
        <c:lblAlgn val="ctr"/>
        <c:lblOffset val="100"/>
        <c:noMultiLvlLbl val="0"/>
      </c:catAx>
      <c:valAx>
        <c:axId val="21458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27693296"/>
        <c:crosses val="autoZero"/>
        <c:crossBetween val="between"/>
      </c:valAx>
      <c:valAx>
        <c:axId val="10619729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67238544"/>
        <c:crosses val="max"/>
        <c:crossBetween val="between"/>
      </c:valAx>
      <c:catAx>
        <c:axId val="1267238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19729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Verkäufe nach Uhrze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ransactionsPerHour!$I$5</c:f>
              <c:strCache>
                <c:ptCount val="1"/>
                <c:pt idx="0">
                  <c:v>Brea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I$6:$I$20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171</c:v>
                </c:pt>
                <c:pt idx="3">
                  <c:v>400</c:v>
                </c:pt>
                <c:pt idx="4">
                  <c:v>508</c:v>
                </c:pt>
                <c:pt idx="5">
                  <c:v>528</c:v>
                </c:pt>
                <c:pt idx="6">
                  <c:v>474</c:v>
                </c:pt>
                <c:pt idx="7">
                  <c:v>340</c:v>
                </c:pt>
                <c:pt idx="8">
                  <c:v>341</c:v>
                </c:pt>
                <c:pt idx="9">
                  <c:v>310</c:v>
                </c:pt>
                <c:pt idx="10">
                  <c:v>196</c:v>
                </c:pt>
                <c:pt idx="11">
                  <c:v>46</c:v>
                </c:pt>
                <c:pt idx="12">
                  <c:v>6</c:v>
                </c:pt>
                <c:pt idx="1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E2-4E84-AB26-9224BFBA0D48}"/>
            </c:ext>
          </c:extLst>
        </c:ser>
        <c:ser>
          <c:idx val="1"/>
          <c:order val="1"/>
          <c:tx>
            <c:strRef>
              <c:f>TransactionsPerHour!$J$5</c:f>
              <c:strCache>
                <c:ptCount val="1"/>
                <c:pt idx="0">
                  <c:v>Cak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J$6:$J$20</c:f>
              <c:numCache>
                <c:formatCode>General</c:formatCode>
                <c:ptCount val="15"/>
                <c:pt idx="2">
                  <c:v>8</c:v>
                </c:pt>
                <c:pt idx="3">
                  <c:v>40</c:v>
                </c:pt>
                <c:pt idx="4">
                  <c:v>83</c:v>
                </c:pt>
                <c:pt idx="5">
                  <c:v>133</c:v>
                </c:pt>
                <c:pt idx="6">
                  <c:v>127</c:v>
                </c:pt>
                <c:pt idx="7">
                  <c:v>124</c:v>
                </c:pt>
                <c:pt idx="8">
                  <c:v>182</c:v>
                </c:pt>
                <c:pt idx="9">
                  <c:v>174</c:v>
                </c:pt>
                <c:pt idx="10">
                  <c:v>124</c:v>
                </c:pt>
                <c:pt idx="11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E2-4E84-AB26-9224BFBA0D48}"/>
            </c:ext>
          </c:extLst>
        </c:ser>
        <c:ser>
          <c:idx val="2"/>
          <c:order val="2"/>
          <c:tx>
            <c:strRef>
              <c:f>TransactionsPerHour!$K$5</c:f>
              <c:strCache>
                <c:ptCount val="1"/>
                <c:pt idx="0">
                  <c:v>Coffe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K$6:$K$20</c:f>
              <c:numCache>
                <c:formatCode>General</c:formatCode>
                <c:ptCount val="15"/>
                <c:pt idx="1">
                  <c:v>13</c:v>
                </c:pt>
                <c:pt idx="2">
                  <c:v>199</c:v>
                </c:pt>
                <c:pt idx="3">
                  <c:v>583</c:v>
                </c:pt>
                <c:pt idx="4">
                  <c:v>820</c:v>
                </c:pt>
                <c:pt idx="5">
                  <c:v>946</c:v>
                </c:pt>
                <c:pt idx="6">
                  <c:v>740</c:v>
                </c:pt>
                <c:pt idx="7">
                  <c:v>607</c:v>
                </c:pt>
                <c:pt idx="8">
                  <c:v>636</c:v>
                </c:pt>
                <c:pt idx="9">
                  <c:v>519</c:v>
                </c:pt>
                <c:pt idx="10">
                  <c:v>321</c:v>
                </c:pt>
                <c:pt idx="11">
                  <c:v>69</c:v>
                </c:pt>
                <c:pt idx="12">
                  <c:v>11</c:v>
                </c:pt>
                <c:pt idx="13">
                  <c:v>6</c:v>
                </c:pt>
                <c:pt idx="14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E2-4E84-AB26-9224BFBA0D48}"/>
            </c:ext>
          </c:extLst>
        </c:ser>
        <c:ser>
          <c:idx val="3"/>
          <c:order val="3"/>
          <c:tx>
            <c:strRef>
              <c:f>TransactionsPerHour!$L$5</c:f>
              <c:strCache>
                <c:ptCount val="1"/>
                <c:pt idx="0">
                  <c:v>Pastr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L$6:$L$20</c:f>
              <c:numCache>
                <c:formatCode>General</c:formatCode>
                <c:ptCount val="15"/>
                <c:pt idx="1">
                  <c:v>2</c:v>
                </c:pt>
                <c:pt idx="2">
                  <c:v>57</c:v>
                </c:pt>
                <c:pt idx="3">
                  <c:v>191</c:v>
                </c:pt>
                <c:pt idx="4">
                  <c:v>203</c:v>
                </c:pt>
                <c:pt idx="5">
                  <c:v>151</c:v>
                </c:pt>
                <c:pt idx="6">
                  <c:v>97</c:v>
                </c:pt>
                <c:pt idx="7">
                  <c:v>48</c:v>
                </c:pt>
                <c:pt idx="8">
                  <c:v>49</c:v>
                </c:pt>
                <c:pt idx="9">
                  <c:v>32</c:v>
                </c:pt>
                <c:pt idx="10">
                  <c:v>16</c:v>
                </c:pt>
                <c:pt idx="11">
                  <c:v>8</c:v>
                </c:pt>
                <c:pt idx="1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E2-4E84-AB26-9224BFBA0D48}"/>
            </c:ext>
          </c:extLst>
        </c:ser>
        <c:ser>
          <c:idx val="4"/>
          <c:order val="4"/>
          <c:tx>
            <c:strRef>
              <c:f>TransactionsPerHour!$M$5</c:f>
              <c:strCache>
                <c:ptCount val="1"/>
                <c:pt idx="0">
                  <c:v>Tea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M$6:$M$20</c:f>
              <c:numCache>
                <c:formatCode>General</c:formatCode>
                <c:ptCount val="15"/>
                <c:pt idx="2">
                  <c:v>21</c:v>
                </c:pt>
                <c:pt idx="3">
                  <c:v>103</c:v>
                </c:pt>
                <c:pt idx="4">
                  <c:v>156</c:v>
                </c:pt>
                <c:pt idx="5">
                  <c:v>176</c:v>
                </c:pt>
                <c:pt idx="6">
                  <c:v>183</c:v>
                </c:pt>
                <c:pt idx="7">
                  <c:v>181</c:v>
                </c:pt>
                <c:pt idx="8">
                  <c:v>233</c:v>
                </c:pt>
                <c:pt idx="9">
                  <c:v>207</c:v>
                </c:pt>
                <c:pt idx="10">
                  <c:v>126</c:v>
                </c:pt>
                <c:pt idx="11">
                  <c:v>41</c:v>
                </c:pt>
                <c:pt idx="12">
                  <c:v>5</c:v>
                </c:pt>
                <c:pt idx="1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E2-4E84-AB26-9224BFBA0D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5384336"/>
        <c:axId val="1155388080"/>
      </c:lineChart>
      <c:catAx>
        <c:axId val="1155384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55388080"/>
        <c:crosses val="autoZero"/>
        <c:auto val="1"/>
        <c:lblAlgn val="ctr"/>
        <c:lblOffset val="100"/>
        <c:noMultiLvlLbl val="0"/>
      </c:catAx>
      <c:valAx>
        <c:axId val="1155388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55384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</a:t>
            </a:r>
            <a:r>
              <a:rPr lang="en-US" baseline="0" dirty="0" err="1"/>
              <a:t>nach</a:t>
            </a:r>
            <a:r>
              <a:rPr lang="en-US" baseline="0" dirty="0"/>
              <a:t> </a:t>
            </a:r>
            <a:r>
              <a:rPr lang="en-US" baseline="0" dirty="0" err="1"/>
              <a:t>Wochenta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ochenta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00C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0C4-4B78-9FAE-8999CCA80188}"/>
              </c:ext>
            </c:extLst>
          </c:dPt>
          <c:dPt>
            <c:idx val="6"/>
            <c:invertIfNegative val="0"/>
            <c:bubble3D val="0"/>
            <c:spPr>
              <a:solidFill>
                <a:srgbClr val="00C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C4-4B78-9FAE-8999CCA80188}"/>
              </c:ext>
            </c:extLst>
          </c:dPt>
          <c:cat>
            <c:strRef>
              <c:f>Tabelle1!$A$2:$A$8</c:f>
              <c:strCache>
                <c:ptCount val="7"/>
                <c:pt idx="0">
                  <c:v>Montag</c:v>
                </c:pt>
                <c:pt idx="1">
                  <c:v>Dienstag</c:v>
                </c:pt>
                <c:pt idx="2">
                  <c:v>Mittwoch</c:v>
                </c:pt>
                <c:pt idx="3">
                  <c:v>Donnerstag</c:v>
                </c:pt>
                <c:pt idx="4">
                  <c:v>Freitag</c:v>
                </c:pt>
                <c:pt idx="5">
                  <c:v>Samstag</c:v>
                </c:pt>
                <c:pt idx="6">
                  <c:v>Sonntag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3035</c:v>
                </c:pt>
                <c:pt idx="1">
                  <c:v>2645</c:v>
                </c:pt>
                <c:pt idx="2">
                  <c:v>2288</c:v>
                </c:pt>
                <c:pt idx="3">
                  <c:v>2601</c:v>
                </c:pt>
                <c:pt idx="4">
                  <c:v>3266</c:v>
                </c:pt>
                <c:pt idx="5">
                  <c:v>3554</c:v>
                </c:pt>
                <c:pt idx="6">
                  <c:v>3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48-4AAA-972B-CDC3F60848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42621376"/>
        <c:axId val="431140176"/>
      </c:barChart>
      <c:catAx>
        <c:axId val="1042621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1140176"/>
        <c:crosses val="autoZero"/>
        <c:auto val="1"/>
        <c:lblAlgn val="ctr"/>
        <c:lblOffset val="100"/>
        <c:noMultiLvlLbl val="0"/>
      </c:catAx>
      <c:valAx>
        <c:axId val="431140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42621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Artike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00CFC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E9-4B55-9EDC-A7DBE7A2CCB8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E9-4B55-9EDC-A7DBE7A2CCB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2!$C$7:$C$8</c:f>
              <c:strCache>
                <c:ptCount val="2"/>
                <c:pt idx="0">
                  <c:v>Weekend</c:v>
                </c:pt>
                <c:pt idx="1">
                  <c:v>Workday</c:v>
                </c:pt>
              </c:strCache>
            </c:strRef>
          </c:cat>
          <c:val>
            <c:numRef>
              <c:f>Tabelle2!$E$7:$E$8</c:f>
              <c:numCache>
                <c:formatCode>0.00</c:formatCode>
                <c:ptCount val="2"/>
                <c:pt idx="0">
                  <c:v>32.534999999999997</c:v>
                </c:pt>
                <c:pt idx="1">
                  <c:v>67.465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E9-4B55-9EDC-A7DBE7A2CCB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Transaktion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F9C-434C-81FD-112FD5BE352D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F9C-434C-81FD-112FD5BE352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2!$C$17:$C$18</c:f>
              <c:strCache>
                <c:ptCount val="2"/>
                <c:pt idx="0">
                  <c:v>Weekend</c:v>
                </c:pt>
                <c:pt idx="1">
                  <c:v>Workday</c:v>
                </c:pt>
              </c:strCache>
            </c:strRef>
          </c:cat>
          <c:val>
            <c:numRef>
              <c:f>Tabelle2!$E$17:$E$18</c:f>
              <c:numCache>
                <c:formatCode>0.00</c:formatCode>
                <c:ptCount val="2"/>
                <c:pt idx="0">
                  <c:v>31.294241944004199</c:v>
                </c:pt>
                <c:pt idx="1">
                  <c:v>68.705758055995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9C-434C-81FD-112FD5BE352D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23</cx:f>
        <cx:lvl ptCount="22"/>
      </cx:strDim>
      <cx:numDim type="val">
        <cx:f>Tabelle1!$B$2:$B$9466</cx:f>
        <cx:lvl ptCount="9465" formatCode="#,0">
          <cx:pt idx="0">1</cx:pt>
          <cx:pt idx="1">2</cx:pt>
          <cx:pt idx="2">3</cx:pt>
          <cx:pt idx="3">1</cx:pt>
          <cx:pt idx="4">3</cx:pt>
          <cx:pt idx="5">3</cx:pt>
          <cx:pt idx="6">4</cx:pt>
          <cx:pt idx="7">2</cx:pt>
          <cx:pt idx="8">2</cx:pt>
          <cx:pt idx="9">2</cx:pt>
          <cx:pt idx="10">3</cx:pt>
          <cx:pt idx="11">5</cx:pt>
          <cx:pt idx="12">3</cx:pt>
          <cx:pt idx="13">3</cx:pt>
          <cx:pt idx="14">2</cx:pt>
          <cx:pt idx="15">3</cx:pt>
          <cx:pt idx="16">1</cx:pt>
          <cx:pt idx="17">1</cx:pt>
          <cx:pt idx="18">2</cx:pt>
          <cx:pt idx="19">2</cx:pt>
          <cx:pt idx="20">4</cx:pt>
          <cx:pt idx="21">1</cx:pt>
          <cx:pt idx="22">2</cx:pt>
          <cx:pt idx="23">1</cx:pt>
          <cx:pt idx="24">1</cx:pt>
          <cx:pt idx="25">1</cx:pt>
          <cx:pt idx="26">1</cx:pt>
          <cx:pt idx="27">2</cx:pt>
          <cx:pt idx="28">2</cx:pt>
          <cx:pt idx="29">1</cx:pt>
          <cx:pt idx="30">1</cx:pt>
          <cx:pt idx="31">2</cx:pt>
          <cx:pt idx="32">1</cx:pt>
          <cx:pt idx="33">2</cx:pt>
          <cx:pt idx="34">2</cx:pt>
          <cx:pt idx="35">2</cx:pt>
          <cx:pt idx="36">2</cx:pt>
          <cx:pt idx="37">2</cx:pt>
          <cx:pt idx="38">1</cx:pt>
          <cx:pt idx="39">4</cx:pt>
          <cx:pt idx="40">1</cx:pt>
          <cx:pt idx="41">2</cx:pt>
          <cx:pt idx="42">2</cx:pt>
          <cx:pt idx="43">2</cx:pt>
          <cx:pt idx="44">3</cx:pt>
          <cx:pt idx="45">1</cx:pt>
          <cx:pt idx="46">5</cx:pt>
          <cx:pt idx="47">1</cx:pt>
          <cx:pt idx="48">3</cx:pt>
          <cx:pt idx="49">2</cx:pt>
          <cx:pt idx="50">1</cx:pt>
          <cx:pt idx="51">1</cx:pt>
          <cx:pt idx="52">1</cx:pt>
          <cx:pt idx="53">4</cx:pt>
          <cx:pt idx="54">2</cx:pt>
          <cx:pt idx="55">1</cx:pt>
          <cx:pt idx="56">4</cx:pt>
          <cx:pt idx="57">1</cx:pt>
          <cx:pt idx="58">4</cx:pt>
          <cx:pt idx="59">1</cx:pt>
          <cx:pt idx="60">6</cx:pt>
          <cx:pt idx="61">1</cx:pt>
          <cx:pt idx="62">1</cx:pt>
          <cx:pt idx="63">4</cx:pt>
          <cx:pt idx="64">3</cx:pt>
          <cx:pt idx="65">3</cx:pt>
          <cx:pt idx="66">5</cx:pt>
          <cx:pt idx="67">3</cx:pt>
          <cx:pt idx="68">1</cx:pt>
          <cx:pt idx="69">1</cx:pt>
          <cx:pt idx="70">2</cx:pt>
          <cx:pt idx="71">1</cx:pt>
          <cx:pt idx="72">2</cx:pt>
          <cx:pt idx="73">2</cx:pt>
          <cx:pt idx="74">1</cx:pt>
          <cx:pt idx="75">1</cx:pt>
          <cx:pt idx="76">1</cx:pt>
          <cx:pt idx="77">4</cx:pt>
          <cx:pt idx="78">3</cx:pt>
          <cx:pt idx="79">2</cx:pt>
          <cx:pt idx="80">2</cx:pt>
          <cx:pt idx="81">2</cx:pt>
          <cx:pt idx="82">1</cx:pt>
          <cx:pt idx="83">4</cx:pt>
          <cx:pt idx="84">1</cx:pt>
          <cx:pt idx="85">1</cx:pt>
          <cx:pt idx="86">3</cx:pt>
          <cx:pt idx="87">1</cx:pt>
          <cx:pt idx="88">2</cx:pt>
          <cx:pt idx="89">1</cx:pt>
          <cx:pt idx="90">1</cx:pt>
          <cx:pt idx="91">2</cx:pt>
          <cx:pt idx="92">2</cx:pt>
          <cx:pt idx="93">3</cx:pt>
          <cx:pt idx="94">4</cx:pt>
          <cx:pt idx="95">3</cx:pt>
          <cx:pt idx="96">1</cx:pt>
          <cx:pt idx="97">4</cx:pt>
          <cx:pt idx="98">1</cx:pt>
          <cx:pt idx="99">2</cx:pt>
          <cx:pt idx="100">1</cx:pt>
          <cx:pt idx="101">1</cx:pt>
          <cx:pt idx="102">5</cx:pt>
          <cx:pt idx="103">3</cx:pt>
          <cx:pt idx="104">4</cx:pt>
          <cx:pt idx="105">2</cx:pt>
          <cx:pt idx="106">2</cx:pt>
          <cx:pt idx="107">3</cx:pt>
          <cx:pt idx="108">1</cx:pt>
          <cx:pt idx="109">1</cx:pt>
          <cx:pt idx="110">1</cx:pt>
          <cx:pt idx="111">2</cx:pt>
          <cx:pt idx="112">1</cx:pt>
          <cx:pt idx="113">1</cx:pt>
          <cx:pt idx="114">1</cx:pt>
          <cx:pt idx="115">4</cx:pt>
          <cx:pt idx="116">4</cx:pt>
          <cx:pt idx="117">3</cx:pt>
          <cx:pt idx="118">1</cx:pt>
          <cx:pt idx="119">2</cx:pt>
          <cx:pt idx="120">1</cx:pt>
          <cx:pt idx="121">4</cx:pt>
          <cx:pt idx="122">2</cx:pt>
          <cx:pt idx="123">1</cx:pt>
          <cx:pt idx="124">2</cx:pt>
          <cx:pt idx="125">1</cx:pt>
          <cx:pt idx="126">3</cx:pt>
          <cx:pt idx="127">3</cx:pt>
          <cx:pt idx="128">3</cx:pt>
          <cx:pt idx="129">2</cx:pt>
          <cx:pt idx="130">4</cx:pt>
          <cx:pt idx="131">2</cx:pt>
          <cx:pt idx="132">3</cx:pt>
          <cx:pt idx="133">1</cx:pt>
          <cx:pt idx="134">2</cx:pt>
          <cx:pt idx="135">1</cx:pt>
          <cx:pt idx="136">3</cx:pt>
          <cx:pt idx="137">3</cx:pt>
          <cx:pt idx="138">3</cx:pt>
          <cx:pt idx="139">1</cx:pt>
          <cx:pt idx="140">2</cx:pt>
          <cx:pt idx="141">1</cx:pt>
          <cx:pt idx="142">2</cx:pt>
          <cx:pt idx="143">3</cx:pt>
          <cx:pt idx="144">1</cx:pt>
          <cx:pt idx="145">2</cx:pt>
          <cx:pt idx="146">3</cx:pt>
          <cx:pt idx="147">1</cx:pt>
          <cx:pt idx="148">1</cx:pt>
          <cx:pt idx="149">2</cx:pt>
          <cx:pt idx="150">1</cx:pt>
          <cx:pt idx="151">4</cx:pt>
          <cx:pt idx="152">4</cx:pt>
          <cx:pt idx="153">3</cx:pt>
          <cx:pt idx="154">2</cx:pt>
          <cx:pt idx="155">2</cx:pt>
          <cx:pt idx="156">2</cx:pt>
          <cx:pt idx="157">3</cx:pt>
          <cx:pt idx="158">2</cx:pt>
          <cx:pt idx="159">1</cx:pt>
          <cx:pt idx="160">1</cx:pt>
          <cx:pt idx="161">2</cx:pt>
          <cx:pt idx="162">2</cx:pt>
          <cx:pt idx="163">1</cx:pt>
          <cx:pt idx="164">2</cx:pt>
          <cx:pt idx="165">4</cx:pt>
          <cx:pt idx="166">2</cx:pt>
          <cx:pt idx="167">1</cx:pt>
          <cx:pt idx="168">1</cx:pt>
          <cx:pt idx="169">2</cx:pt>
          <cx:pt idx="170">2</cx:pt>
          <cx:pt idx="171">2</cx:pt>
          <cx:pt idx="172">1</cx:pt>
          <cx:pt idx="173">1</cx:pt>
          <cx:pt idx="174">2</cx:pt>
          <cx:pt idx="175">2</cx:pt>
          <cx:pt idx="176">2</cx:pt>
          <cx:pt idx="177">2</cx:pt>
          <cx:pt idx="178">2</cx:pt>
          <cx:pt idx="179">3</cx:pt>
          <cx:pt idx="180">1</cx:pt>
          <cx:pt idx="181">2</cx:pt>
          <cx:pt idx="182">2</cx:pt>
          <cx:pt idx="183">2</cx:pt>
          <cx:pt idx="184">1</cx:pt>
          <cx:pt idx="185">1</cx:pt>
          <cx:pt idx="186">2</cx:pt>
          <cx:pt idx="187">3</cx:pt>
          <cx:pt idx="188">2</cx:pt>
          <cx:pt idx="189">1</cx:pt>
          <cx:pt idx="190">1</cx:pt>
          <cx:pt idx="191">2</cx:pt>
          <cx:pt idx="192">2</cx:pt>
          <cx:pt idx="193">3</cx:pt>
          <cx:pt idx="194">3</cx:pt>
          <cx:pt idx="195">2</cx:pt>
          <cx:pt idx="196">1</cx:pt>
          <cx:pt idx="197">1</cx:pt>
          <cx:pt idx="198">2</cx:pt>
          <cx:pt idx="199">2</cx:pt>
          <cx:pt idx="200">1</cx:pt>
          <cx:pt idx="201">2</cx:pt>
          <cx:pt idx="202">3</cx:pt>
          <cx:pt idx="203">3</cx:pt>
          <cx:pt idx="204">3</cx:pt>
          <cx:pt idx="205">1</cx:pt>
          <cx:pt idx="206">1</cx:pt>
          <cx:pt idx="207">1</cx:pt>
          <cx:pt idx="208">2</cx:pt>
          <cx:pt idx="209">3</cx:pt>
          <cx:pt idx="210">1</cx:pt>
          <cx:pt idx="211">3</cx:pt>
          <cx:pt idx="212">2</cx:pt>
          <cx:pt idx="213">2</cx:pt>
          <cx:pt idx="214">2</cx:pt>
          <cx:pt idx="215">1</cx:pt>
          <cx:pt idx="216">1</cx:pt>
          <cx:pt idx="217">2</cx:pt>
          <cx:pt idx="218">2</cx:pt>
          <cx:pt idx="219">1</cx:pt>
          <cx:pt idx="220">2</cx:pt>
          <cx:pt idx="221">1</cx:pt>
          <cx:pt idx="222">3</cx:pt>
          <cx:pt idx="223">1</cx:pt>
          <cx:pt idx="224">3</cx:pt>
          <cx:pt idx="225">1</cx:pt>
          <cx:pt idx="226">2</cx:pt>
          <cx:pt idx="227">1</cx:pt>
          <cx:pt idx="228">1</cx:pt>
          <cx:pt idx="229">3</cx:pt>
          <cx:pt idx="230">4</cx:pt>
          <cx:pt idx="231">2</cx:pt>
          <cx:pt idx="232">1</cx:pt>
          <cx:pt idx="233">1</cx:pt>
          <cx:pt idx="234">2</cx:pt>
          <cx:pt idx="235">4</cx:pt>
          <cx:pt idx="236">1</cx:pt>
          <cx:pt idx="237">1</cx:pt>
          <cx:pt idx="238">2</cx:pt>
          <cx:pt idx="239">3</cx:pt>
          <cx:pt idx="240">4</cx:pt>
          <cx:pt idx="241">3</cx:pt>
          <cx:pt idx="242">2</cx:pt>
          <cx:pt idx="243">2</cx:pt>
          <cx:pt idx="244">5</cx:pt>
          <cx:pt idx="245">3</cx:pt>
          <cx:pt idx="246">1</cx:pt>
          <cx:pt idx="247">1</cx:pt>
          <cx:pt idx="248">2</cx:pt>
          <cx:pt idx="249">2</cx:pt>
          <cx:pt idx="250">1</cx:pt>
          <cx:pt idx="251">1</cx:pt>
          <cx:pt idx="252">3</cx:pt>
          <cx:pt idx="253">2</cx:pt>
          <cx:pt idx="254">3</cx:pt>
          <cx:pt idx="255">2</cx:pt>
          <cx:pt idx="256">1</cx:pt>
          <cx:pt idx="257">1</cx:pt>
          <cx:pt idx="258">1</cx:pt>
          <cx:pt idx="259">3</cx:pt>
          <cx:pt idx="260">1</cx:pt>
          <cx:pt idx="261">2</cx:pt>
          <cx:pt idx="262">1</cx:pt>
          <cx:pt idx="263">2</cx:pt>
          <cx:pt idx="264">3</cx:pt>
          <cx:pt idx="265">2</cx:pt>
          <cx:pt idx="266">1</cx:pt>
          <cx:pt idx="267">2</cx:pt>
          <cx:pt idx="268">4</cx:pt>
          <cx:pt idx="269">1</cx:pt>
          <cx:pt idx="270">3</cx:pt>
          <cx:pt idx="271">1</cx:pt>
          <cx:pt idx="272">3</cx:pt>
          <cx:pt idx="273">1</cx:pt>
          <cx:pt idx="274">2</cx:pt>
          <cx:pt idx="275">1</cx:pt>
          <cx:pt idx="276">2</cx:pt>
          <cx:pt idx="277">2</cx:pt>
          <cx:pt idx="278">3</cx:pt>
          <cx:pt idx="279">2</cx:pt>
          <cx:pt idx="280">2</cx:pt>
          <cx:pt idx="281">3</cx:pt>
          <cx:pt idx="282">3</cx:pt>
          <cx:pt idx="283">2</cx:pt>
          <cx:pt idx="284">2</cx:pt>
          <cx:pt idx="285">1</cx:pt>
          <cx:pt idx="286">2</cx:pt>
          <cx:pt idx="287">1</cx:pt>
          <cx:pt idx="288">1</cx:pt>
          <cx:pt idx="289">1</cx:pt>
          <cx:pt idx="290">1</cx:pt>
          <cx:pt idx="291">3</cx:pt>
          <cx:pt idx="292">2</cx:pt>
          <cx:pt idx="293">4</cx:pt>
          <cx:pt idx="294">4</cx:pt>
          <cx:pt idx="295">1</cx:pt>
          <cx:pt idx="296">5</cx:pt>
          <cx:pt idx="297">3</cx:pt>
          <cx:pt idx="298">2</cx:pt>
          <cx:pt idx="299">4</cx:pt>
          <cx:pt idx="300">2</cx:pt>
          <cx:pt idx="301">1</cx:pt>
          <cx:pt idx="302">4</cx:pt>
          <cx:pt idx="303">1</cx:pt>
          <cx:pt idx="304">2</cx:pt>
          <cx:pt idx="305">2</cx:pt>
          <cx:pt idx="306">3</cx:pt>
          <cx:pt idx="307">2</cx:pt>
          <cx:pt idx="308">3</cx:pt>
          <cx:pt idx="309">1</cx:pt>
          <cx:pt idx="310">1</cx:pt>
          <cx:pt idx="311">1</cx:pt>
          <cx:pt idx="312">2</cx:pt>
          <cx:pt idx="313">3</cx:pt>
          <cx:pt idx="314">1</cx:pt>
          <cx:pt idx="315">1</cx:pt>
          <cx:pt idx="316">2</cx:pt>
          <cx:pt idx="317">1</cx:pt>
          <cx:pt idx="318">1</cx:pt>
          <cx:pt idx="319">2</cx:pt>
          <cx:pt idx="320">1</cx:pt>
          <cx:pt idx="321">1</cx:pt>
          <cx:pt idx="322">1</cx:pt>
          <cx:pt idx="323">2</cx:pt>
          <cx:pt idx="324">1</cx:pt>
          <cx:pt idx="325">1</cx:pt>
          <cx:pt idx="326">1</cx:pt>
          <cx:pt idx="327">2</cx:pt>
          <cx:pt idx="328">5</cx:pt>
          <cx:pt idx="329">2</cx:pt>
          <cx:pt idx="330">1</cx:pt>
          <cx:pt idx="331">2</cx:pt>
          <cx:pt idx="332">3</cx:pt>
          <cx:pt idx="333">2</cx:pt>
          <cx:pt idx="334">1</cx:pt>
          <cx:pt idx="335">2</cx:pt>
          <cx:pt idx="336">2</cx:pt>
          <cx:pt idx="337">2</cx:pt>
          <cx:pt idx="338">1</cx:pt>
          <cx:pt idx="339">2</cx:pt>
          <cx:pt idx="340">1</cx:pt>
          <cx:pt idx="341">5</cx:pt>
          <cx:pt idx="342">1</cx:pt>
          <cx:pt idx="343">3</cx:pt>
          <cx:pt idx="344">1</cx:pt>
          <cx:pt idx="345">3</cx:pt>
          <cx:pt idx="346">1</cx:pt>
          <cx:pt idx="347">1</cx:pt>
          <cx:pt idx="348">4</cx:pt>
          <cx:pt idx="349">2</cx:pt>
          <cx:pt idx="350">2</cx:pt>
          <cx:pt idx="351">2</cx:pt>
          <cx:pt idx="352">2</cx:pt>
          <cx:pt idx="353">1</cx:pt>
          <cx:pt idx="354">2</cx:pt>
          <cx:pt idx="355">3</cx:pt>
          <cx:pt idx="356">1</cx:pt>
          <cx:pt idx="357">3</cx:pt>
          <cx:pt idx="358">1</cx:pt>
          <cx:pt idx="359">1</cx:pt>
          <cx:pt idx="360">1</cx:pt>
          <cx:pt idx="361">2</cx:pt>
          <cx:pt idx="362">1</cx:pt>
          <cx:pt idx="363">1</cx:pt>
          <cx:pt idx="364">1</cx:pt>
          <cx:pt idx="365">4</cx:pt>
          <cx:pt idx="366">3</cx:pt>
          <cx:pt idx="367">1</cx:pt>
          <cx:pt idx="368">1</cx:pt>
          <cx:pt idx="369">4</cx:pt>
          <cx:pt idx="370">2</cx:pt>
          <cx:pt idx="371">4</cx:pt>
          <cx:pt idx="372">2</cx:pt>
          <cx:pt idx="373">2</cx:pt>
          <cx:pt idx="374">2</cx:pt>
          <cx:pt idx="375">2</cx:pt>
          <cx:pt idx="376">7</cx:pt>
          <cx:pt idx="377">1</cx:pt>
          <cx:pt idx="378">3</cx:pt>
          <cx:pt idx="379">2</cx:pt>
          <cx:pt idx="380">1</cx:pt>
          <cx:pt idx="381">1</cx:pt>
          <cx:pt idx="382">3</cx:pt>
          <cx:pt idx="383">2</cx:pt>
          <cx:pt idx="384">1</cx:pt>
          <cx:pt idx="385">3</cx:pt>
          <cx:pt idx="386">4</cx:pt>
          <cx:pt idx="387">2</cx:pt>
          <cx:pt idx="388">3</cx:pt>
          <cx:pt idx="389">1</cx:pt>
          <cx:pt idx="390">1</cx:pt>
          <cx:pt idx="391">3</cx:pt>
          <cx:pt idx="392">1</cx:pt>
          <cx:pt idx="393">2</cx:pt>
          <cx:pt idx="394">2</cx:pt>
          <cx:pt idx="395">3</cx:pt>
          <cx:pt idx="396">3</cx:pt>
          <cx:pt idx="397">3</cx:pt>
          <cx:pt idx="398">3</cx:pt>
          <cx:pt idx="399">2</cx:pt>
          <cx:pt idx="400">2</cx:pt>
          <cx:pt idx="401">2</cx:pt>
          <cx:pt idx="402">1</cx:pt>
          <cx:pt idx="403">1</cx:pt>
          <cx:pt idx="404">4</cx:pt>
          <cx:pt idx="405">1</cx:pt>
          <cx:pt idx="406">2</cx:pt>
          <cx:pt idx="407">2</cx:pt>
          <cx:pt idx="408">1</cx:pt>
          <cx:pt idx="409">1</cx:pt>
          <cx:pt idx="410">1</cx:pt>
          <cx:pt idx="411">1</cx:pt>
          <cx:pt idx="412">1</cx:pt>
          <cx:pt idx="413">5</cx:pt>
          <cx:pt idx="414">1</cx:pt>
          <cx:pt idx="415">5</cx:pt>
          <cx:pt idx="416">2</cx:pt>
          <cx:pt idx="417">1</cx:pt>
          <cx:pt idx="418">1</cx:pt>
          <cx:pt idx="419">1</cx:pt>
          <cx:pt idx="420">1</cx:pt>
          <cx:pt idx="421">1</cx:pt>
          <cx:pt idx="422">2</cx:pt>
          <cx:pt idx="423">1</cx:pt>
          <cx:pt idx="424">4</cx:pt>
          <cx:pt idx="425">1</cx:pt>
          <cx:pt idx="426">1</cx:pt>
          <cx:pt idx="427">1</cx:pt>
          <cx:pt idx="428">1</cx:pt>
          <cx:pt idx="429">1</cx:pt>
          <cx:pt idx="430">1</cx:pt>
          <cx:pt idx="431">3</cx:pt>
          <cx:pt idx="432">1</cx:pt>
          <cx:pt idx="433">1</cx:pt>
          <cx:pt idx="434">1</cx:pt>
          <cx:pt idx="435">2</cx:pt>
          <cx:pt idx="436">1</cx:pt>
          <cx:pt idx="437">3</cx:pt>
          <cx:pt idx="438">3</cx:pt>
          <cx:pt idx="439">2</cx:pt>
          <cx:pt idx="440">2</cx:pt>
          <cx:pt idx="441">1</cx:pt>
          <cx:pt idx="442">1</cx:pt>
          <cx:pt idx="443">2</cx:pt>
          <cx:pt idx="444">2</cx:pt>
          <cx:pt idx="445">2</cx:pt>
          <cx:pt idx="446">2</cx:pt>
          <cx:pt idx="447">2</cx:pt>
          <cx:pt idx="448">3</cx:pt>
          <cx:pt idx="449">2</cx:pt>
          <cx:pt idx="450">2</cx:pt>
          <cx:pt idx="451">1</cx:pt>
          <cx:pt idx="452">2</cx:pt>
          <cx:pt idx="453">1</cx:pt>
          <cx:pt idx="454">1</cx:pt>
          <cx:pt idx="455">4</cx:pt>
          <cx:pt idx="456">1</cx:pt>
          <cx:pt idx="457">1</cx:pt>
          <cx:pt idx="458">1</cx:pt>
          <cx:pt idx="459">2</cx:pt>
          <cx:pt idx="460">1</cx:pt>
          <cx:pt idx="461">1</cx:pt>
          <cx:pt idx="462">2</cx:pt>
          <cx:pt idx="463">1</cx:pt>
          <cx:pt idx="464">2</cx:pt>
          <cx:pt idx="465">2</cx:pt>
          <cx:pt idx="466">2</cx:pt>
          <cx:pt idx="467">2</cx:pt>
          <cx:pt idx="468">2</cx:pt>
          <cx:pt idx="469">1</cx:pt>
          <cx:pt idx="470">2</cx:pt>
          <cx:pt idx="471">4</cx:pt>
          <cx:pt idx="472">2</cx:pt>
          <cx:pt idx="473">2</cx:pt>
          <cx:pt idx="474">8</cx:pt>
          <cx:pt idx="475">1</cx:pt>
          <cx:pt idx="476">2</cx:pt>
          <cx:pt idx="477">2</cx:pt>
          <cx:pt idx="478">2</cx:pt>
          <cx:pt idx="479">4</cx:pt>
          <cx:pt idx="480">4</cx:pt>
          <cx:pt idx="481">3</cx:pt>
          <cx:pt idx="482">4</cx:pt>
          <cx:pt idx="483">4</cx:pt>
          <cx:pt idx="484">4</cx:pt>
          <cx:pt idx="485">2</cx:pt>
          <cx:pt idx="486">3</cx:pt>
          <cx:pt idx="487">2</cx:pt>
          <cx:pt idx="488">2</cx:pt>
          <cx:pt idx="489">4</cx:pt>
          <cx:pt idx="490">2</cx:pt>
          <cx:pt idx="491">2</cx:pt>
          <cx:pt idx="492">2</cx:pt>
          <cx:pt idx="493">2</cx:pt>
          <cx:pt idx="494">5</cx:pt>
          <cx:pt idx="495">2</cx:pt>
          <cx:pt idx="496">1</cx:pt>
          <cx:pt idx="497">3</cx:pt>
          <cx:pt idx="498">4</cx:pt>
          <cx:pt idx="499">2</cx:pt>
          <cx:pt idx="500">2</cx:pt>
          <cx:pt idx="501">2</cx:pt>
          <cx:pt idx="502">1</cx:pt>
          <cx:pt idx="503">3</cx:pt>
          <cx:pt idx="504">3</cx:pt>
          <cx:pt idx="505">1</cx:pt>
          <cx:pt idx="506">3</cx:pt>
          <cx:pt idx="507">1</cx:pt>
          <cx:pt idx="508">3</cx:pt>
          <cx:pt idx="509">3</cx:pt>
          <cx:pt idx="510">4</cx:pt>
          <cx:pt idx="511">1</cx:pt>
          <cx:pt idx="512">1</cx:pt>
          <cx:pt idx="513">2</cx:pt>
          <cx:pt idx="514">2</cx:pt>
          <cx:pt idx="515">6</cx:pt>
          <cx:pt idx="516">2</cx:pt>
          <cx:pt idx="517">4</cx:pt>
          <cx:pt idx="518">1</cx:pt>
          <cx:pt idx="519">2</cx:pt>
          <cx:pt idx="520">4</cx:pt>
          <cx:pt idx="521">3</cx:pt>
          <cx:pt idx="522">3</cx:pt>
          <cx:pt idx="523">1</cx:pt>
          <cx:pt idx="524">2</cx:pt>
          <cx:pt idx="525">3</cx:pt>
          <cx:pt idx="526">1</cx:pt>
          <cx:pt idx="527">1</cx:pt>
          <cx:pt idx="528">4</cx:pt>
          <cx:pt idx="529">1</cx:pt>
          <cx:pt idx="530">2</cx:pt>
          <cx:pt idx="531">1</cx:pt>
          <cx:pt idx="532">3</cx:pt>
          <cx:pt idx="533">3</cx:pt>
          <cx:pt idx="534">1</cx:pt>
          <cx:pt idx="535">2</cx:pt>
          <cx:pt idx="536">3</cx:pt>
          <cx:pt idx="537">2</cx:pt>
          <cx:pt idx="538">4</cx:pt>
          <cx:pt idx="539">1</cx:pt>
          <cx:pt idx="540">1</cx:pt>
          <cx:pt idx="541">5</cx:pt>
          <cx:pt idx="542">3</cx:pt>
          <cx:pt idx="543">2</cx:pt>
          <cx:pt idx="544">2</cx:pt>
          <cx:pt idx="545">2</cx:pt>
          <cx:pt idx="546">2</cx:pt>
          <cx:pt idx="547">5</cx:pt>
          <cx:pt idx="548">5</cx:pt>
          <cx:pt idx="549">3</cx:pt>
          <cx:pt idx="550">2</cx:pt>
          <cx:pt idx="551">2</cx:pt>
          <cx:pt idx="552">2</cx:pt>
          <cx:pt idx="553">2</cx:pt>
          <cx:pt idx="554">3</cx:pt>
          <cx:pt idx="555">3</cx:pt>
          <cx:pt idx="556">3</cx:pt>
          <cx:pt idx="557">1</cx:pt>
          <cx:pt idx="558">2</cx:pt>
          <cx:pt idx="559">3</cx:pt>
          <cx:pt idx="560">2</cx:pt>
          <cx:pt idx="561">1</cx:pt>
          <cx:pt idx="562">2</cx:pt>
          <cx:pt idx="563">1</cx:pt>
          <cx:pt idx="564">1</cx:pt>
          <cx:pt idx="565">2</cx:pt>
          <cx:pt idx="566">3</cx:pt>
          <cx:pt idx="567">4</cx:pt>
          <cx:pt idx="568">3</cx:pt>
          <cx:pt idx="569">2</cx:pt>
          <cx:pt idx="570">1</cx:pt>
          <cx:pt idx="571">1</cx:pt>
          <cx:pt idx="572">5</cx:pt>
          <cx:pt idx="573">1</cx:pt>
          <cx:pt idx="574">1</cx:pt>
          <cx:pt idx="575">3</cx:pt>
          <cx:pt idx="576">2</cx:pt>
          <cx:pt idx="577">2</cx:pt>
          <cx:pt idx="578">2</cx:pt>
          <cx:pt idx="579">1</cx:pt>
          <cx:pt idx="580">1</cx:pt>
          <cx:pt idx="581">4</cx:pt>
          <cx:pt idx="582">2</cx:pt>
          <cx:pt idx="583">3</cx:pt>
          <cx:pt idx="584">4</cx:pt>
          <cx:pt idx="585">2</cx:pt>
          <cx:pt idx="586">2</cx:pt>
          <cx:pt idx="587">1</cx:pt>
          <cx:pt idx="588">1</cx:pt>
          <cx:pt idx="589">1</cx:pt>
          <cx:pt idx="590">1</cx:pt>
          <cx:pt idx="591">4</cx:pt>
          <cx:pt idx="592">3</cx:pt>
          <cx:pt idx="593">1</cx:pt>
          <cx:pt idx="594">2</cx:pt>
          <cx:pt idx="595">1</cx:pt>
          <cx:pt idx="596">3</cx:pt>
          <cx:pt idx="597">2</cx:pt>
          <cx:pt idx="598">2</cx:pt>
          <cx:pt idx="599">1</cx:pt>
          <cx:pt idx="600">3</cx:pt>
          <cx:pt idx="601">1</cx:pt>
          <cx:pt idx="602">2</cx:pt>
          <cx:pt idx="603">4</cx:pt>
          <cx:pt idx="604">3</cx:pt>
          <cx:pt idx="605">2</cx:pt>
          <cx:pt idx="606">4</cx:pt>
          <cx:pt idx="607">1</cx:pt>
          <cx:pt idx="608">3</cx:pt>
          <cx:pt idx="609">2</cx:pt>
          <cx:pt idx="610">1</cx:pt>
          <cx:pt idx="611">3</cx:pt>
          <cx:pt idx="612">5</cx:pt>
          <cx:pt idx="613">2</cx:pt>
          <cx:pt idx="614">3</cx:pt>
          <cx:pt idx="615">4</cx:pt>
          <cx:pt idx="616">1</cx:pt>
          <cx:pt idx="617">1</cx:pt>
          <cx:pt idx="618">1</cx:pt>
          <cx:pt idx="619">1</cx:pt>
          <cx:pt idx="620">1</cx:pt>
          <cx:pt idx="621">6</cx:pt>
          <cx:pt idx="622">3</cx:pt>
          <cx:pt idx="623">3</cx:pt>
          <cx:pt idx="624">3</cx:pt>
          <cx:pt idx="625">2</cx:pt>
          <cx:pt idx="626">3</cx:pt>
          <cx:pt idx="627">1</cx:pt>
          <cx:pt idx="628">2</cx:pt>
          <cx:pt idx="629">3</cx:pt>
          <cx:pt idx="630">2</cx:pt>
          <cx:pt idx="631">1</cx:pt>
          <cx:pt idx="632">2</cx:pt>
          <cx:pt idx="633">2</cx:pt>
          <cx:pt idx="634">1</cx:pt>
          <cx:pt idx="635">3</cx:pt>
          <cx:pt idx="636">2</cx:pt>
          <cx:pt idx="637">3</cx:pt>
          <cx:pt idx="638">1</cx:pt>
          <cx:pt idx="639">1</cx:pt>
          <cx:pt idx="640">4</cx:pt>
          <cx:pt idx="641">3</cx:pt>
          <cx:pt idx="642">5</cx:pt>
          <cx:pt idx="643">4</cx:pt>
          <cx:pt idx="644">1</cx:pt>
          <cx:pt idx="645">4</cx:pt>
          <cx:pt idx="646">3</cx:pt>
          <cx:pt idx="647">4</cx:pt>
          <cx:pt idx="648">2</cx:pt>
          <cx:pt idx="649">3</cx:pt>
          <cx:pt idx="650">3</cx:pt>
          <cx:pt idx="651">1</cx:pt>
          <cx:pt idx="652">3</cx:pt>
          <cx:pt idx="653">2</cx:pt>
          <cx:pt idx="654">1</cx:pt>
          <cx:pt idx="655">1</cx:pt>
          <cx:pt idx="656">4</cx:pt>
          <cx:pt idx="657">1</cx:pt>
          <cx:pt idx="658">3</cx:pt>
          <cx:pt idx="659">1</cx:pt>
          <cx:pt idx="660">3</cx:pt>
          <cx:pt idx="661">2</cx:pt>
          <cx:pt idx="662">1</cx:pt>
          <cx:pt idx="663">3</cx:pt>
          <cx:pt idx="664">1</cx:pt>
          <cx:pt idx="665">1</cx:pt>
          <cx:pt idx="666">1</cx:pt>
          <cx:pt idx="667">1</cx:pt>
          <cx:pt idx="668">3</cx:pt>
          <cx:pt idx="669">2</cx:pt>
          <cx:pt idx="670">1</cx:pt>
          <cx:pt idx="671">1</cx:pt>
          <cx:pt idx="672">1</cx:pt>
          <cx:pt idx="673">2</cx:pt>
          <cx:pt idx="674">1</cx:pt>
          <cx:pt idx="675">2</cx:pt>
          <cx:pt idx="676">2</cx:pt>
          <cx:pt idx="677">5</cx:pt>
          <cx:pt idx="678">1</cx:pt>
          <cx:pt idx="679">1</cx:pt>
          <cx:pt idx="680">2</cx:pt>
          <cx:pt idx="681">6</cx:pt>
          <cx:pt idx="682">3</cx:pt>
          <cx:pt idx="683">3</cx:pt>
          <cx:pt idx="684">1</cx:pt>
          <cx:pt idx="685">1</cx:pt>
          <cx:pt idx="686">4</cx:pt>
          <cx:pt idx="687">2</cx:pt>
          <cx:pt idx="688">3</cx:pt>
          <cx:pt idx="689">1</cx:pt>
          <cx:pt idx="690">2</cx:pt>
          <cx:pt idx="691">3</cx:pt>
          <cx:pt idx="692">3</cx:pt>
          <cx:pt idx="693">2</cx:pt>
          <cx:pt idx="694">2</cx:pt>
          <cx:pt idx="695">4</cx:pt>
          <cx:pt idx="696">1</cx:pt>
          <cx:pt idx="697">2</cx:pt>
          <cx:pt idx="698">3</cx:pt>
          <cx:pt idx="699">3</cx:pt>
          <cx:pt idx="700">1</cx:pt>
          <cx:pt idx="701">2</cx:pt>
          <cx:pt idx="702">3</cx:pt>
          <cx:pt idx="703">1</cx:pt>
          <cx:pt idx="704">3</cx:pt>
          <cx:pt idx="705">2</cx:pt>
          <cx:pt idx="706">2</cx:pt>
          <cx:pt idx="707">3</cx:pt>
          <cx:pt idx="708">2</cx:pt>
          <cx:pt idx="709">2</cx:pt>
          <cx:pt idx="710">4</cx:pt>
          <cx:pt idx="711">3</cx:pt>
          <cx:pt idx="712">2</cx:pt>
          <cx:pt idx="713">2</cx:pt>
          <cx:pt idx="714">1</cx:pt>
          <cx:pt idx="715">4</cx:pt>
          <cx:pt idx="716">2</cx:pt>
          <cx:pt idx="717">2</cx:pt>
          <cx:pt idx="718">3</cx:pt>
          <cx:pt idx="719">1</cx:pt>
          <cx:pt idx="720">2</cx:pt>
          <cx:pt idx="721">2</cx:pt>
          <cx:pt idx="722">2</cx:pt>
          <cx:pt idx="723">3</cx:pt>
          <cx:pt idx="724">1</cx:pt>
          <cx:pt idx="725">3</cx:pt>
          <cx:pt idx="726">2</cx:pt>
          <cx:pt idx="727">4</cx:pt>
          <cx:pt idx="728">2</cx:pt>
          <cx:pt idx="729">1</cx:pt>
          <cx:pt idx="730">2</cx:pt>
          <cx:pt idx="731">2</cx:pt>
          <cx:pt idx="732">3</cx:pt>
          <cx:pt idx="733">5</cx:pt>
          <cx:pt idx="734">1</cx:pt>
          <cx:pt idx="735">1</cx:pt>
          <cx:pt idx="736">1</cx:pt>
          <cx:pt idx="737">1</cx:pt>
          <cx:pt idx="738">1</cx:pt>
          <cx:pt idx="739">4</cx:pt>
          <cx:pt idx="740">2</cx:pt>
          <cx:pt idx="741">1</cx:pt>
          <cx:pt idx="742">2</cx:pt>
          <cx:pt idx="743">4</cx:pt>
          <cx:pt idx="744">3</cx:pt>
          <cx:pt idx="745">4</cx:pt>
          <cx:pt idx="746">1</cx:pt>
          <cx:pt idx="747">1</cx:pt>
          <cx:pt idx="748">1</cx:pt>
          <cx:pt idx="749">1</cx:pt>
          <cx:pt idx="750">3</cx:pt>
          <cx:pt idx="751">2</cx:pt>
          <cx:pt idx="752">1</cx:pt>
          <cx:pt idx="753">3</cx:pt>
          <cx:pt idx="754">2</cx:pt>
          <cx:pt idx="755">1</cx:pt>
          <cx:pt idx="756">2</cx:pt>
          <cx:pt idx="757">2</cx:pt>
          <cx:pt idx="758">1</cx:pt>
          <cx:pt idx="759">2</cx:pt>
          <cx:pt idx="760">2</cx:pt>
          <cx:pt idx="761">6</cx:pt>
          <cx:pt idx="762">1</cx:pt>
          <cx:pt idx="763">1</cx:pt>
          <cx:pt idx="764">2</cx:pt>
          <cx:pt idx="765">1</cx:pt>
          <cx:pt idx="766">1</cx:pt>
          <cx:pt idx="767">2</cx:pt>
          <cx:pt idx="768">2</cx:pt>
          <cx:pt idx="769">3</cx:pt>
          <cx:pt idx="770">1</cx:pt>
          <cx:pt idx="771">3</cx:pt>
          <cx:pt idx="772">3</cx:pt>
          <cx:pt idx="773">1</cx:pt>
          <cx:pt idx="774">2</cx:pt>
          <cx:pt idx="775">5</cx:pt>
          <cx:pt idx="776">3</cx:pt>
          <cx:pt idx="777">1</cx:pt>
          <cx:pt idx="778">1</cx:pt>
          <cx:pt idx="779">2</cx:pt>
          <cx:pt idx="780">1</cx:pt>
          <cx:pt idx="781">1</cx:pt>
          <cx:pt idx="782">1</cx:pt>
          <cx:pt idx="783">3</cx:pt>
          <cx:pt idx="784">2</cx:pt>
          <cx:pt idx="785">1</cx:pt>
          <cx:pt idx="786">1</cx:pt>
          <cx:pt idx="787">1</cx:pt>
          <cx:pt idx="788">2</cx:pt>
          <cx:pt idx="789">1</cx:pt>
          <cx:pt idx="790">1</cx:pt>
          <cx:pt idx="791">1</cx:pt>
          <cx:pt idx="792">1</cx:pt>
          <cx:pt idx="793">2</cx:pt>
          <cx:pt idx="794">2</cx:pt>
          <cx:pt idx="795">4</cx:pt>
          <cx:pt idx="796">2</cx:pt>
          <cx:pt idx="797">1</cx:pt>
          <cx:pt idx="798">2</cx:pt>
          <cx:pt idx="799">3</cx:pt>
          <cx:pt idx="800">2</cx:pt>
          <cx:pt idx="801">2</cx:pt>
          <cx:pt idx="802">1</cx:pt>
          <cx:pt idx="803">3</cx:pt>
          <cx:pt idx="804">4</cx:pt>
          <cx:pt idx="805">2</cx:pt>
          <cx:pt idx="806">1</cx:pt>
          <cx:pt idx="807">3</cx:pt>
          <cx:pt idx="808">1</cx:pt>
          <cx:pt idx="809">3</cx:pt>
          <cx:pt idx="810">1</cx:pt>
          <cx:pt idx="811">3</cx:pt>
          <cx:pt idx="812">2</cx:pt>
          <cx:pt idx="813">3</cx:pt>
          <cx:pt idx="814">2</cx:pt>
          <cx:pt idx="815">2</cx:pt>
          <cx:pt idx="816">1</cx:pt>
          <cx:pt idx="817">1</cx:pt>
          <cx:pt idx="818">3</cx:pt>
          <cx:pt idx="819">2</cx:pt>
          <cx:pt idx="820">2</cx:pt>
          <cx:pt idx="821">2</cx:pt>
          <cx:pt idx="822">2</cx:pt>
          <cx:pt idx="823">1</cx:pt>
          <cx:pt idx="824">2</cx:pt>
          <cx:pt idx="825">1</cx:pt>
          <cx:pt idx="826">1</cx:pt>
          <cx:pt idx="827">2</cx:pt>
          <cx:pt idx="828">1</cx:pt>
          <cx:pt idx="829">4</cx:pt>
          <cx:pt idx="830">1</cx:pt>
          <cx:pt idx="831">1</cx:pt>
          <cx:pt idx="832">4</cx:pt>
          <cx:pt idx="833">2</cx:pt>
          <cx:pt idx="834">1</cx:pt>
          <cx:pt idx="835">1</cx:pt>
          <cx:pt idx="836">2</cx:pt>
          <cx:pt idx="837">1</cx:pt>
          <cx:pt idx="838">1</cx:pt>
          <cx:pt idx="839">1</cx:pt>
          <cx:pt idx="840">3</cx:pt>
          <cx:pt idx="841">1</cx:pt>
          <cx:pt idx="842">3</cx:pt>
          <cx:pt idx="843">4</cx:pt>
          <cx:pt idx="844">2</cx:pt>
          <cx:pt idx="845">3</cx:pt>
          <cx:pt idx="846">5</cx:pt>
          <cx:pt idx="847">2</cx:pt>
          <cx:pt idx="848">1</cx:pt>
          <cx:pt idx="849">1</cx:pt>
          <cx:pt idx="850">3</cx:pt>
          <cx:pt idx="851">1</cx:pt>
          <cx:pt idx="852">5</cx:pt>
          <cx:pt idx="853">1</cx:pt>
          <cx:pt idx="854">4</cx:pt>
          <cx:pt idx="855">2</cx:pt>
          <cx:pt idx="856">2</cx:pt>
          <cx:pt idx="857">3</cx:pt>
          <cx:pt idx="858">2</cx:pt>
          <cx:pt idx="859">3</cx:pt>
          <cx:pt idx="860">1</cx:pt>
          <cx:pt idx="861">1</cx:pt>
          <cx:pt idx="862">1</cx:pt>
          <cx:pt idx="863">1</cx:pt>
          <cx:pt idx="864">2</cx:pt>
          <cx:pt idx="865">2</cx:pt>
          <cx:pt idx="866">1</cx:pt>
          <cx:pt idx="867">3</cx:pt>
          <cx:pt idx="868">2</cx:pt>
          <cx:pt idx="869">1</cx:pt>
          <cx:pt idx="870">2</cx:pt>
          <cx:pt idx="871">2</cx:pt>
          <cx:pt idx="872">2</cx:pt>
          <cx:pt idx="873">1</cx:pt>
          <cx:pt idx="874">1</cx:pt>
          <cx:pt idx="875">2</cx:pt>
          <cx:pt idx="876">1</cx:pt>
          <cx:pt idx="877">5</cx:pt>
          <cx:pt idx="878">1</cx:pt>
          <cx:pt idx="879">2</cx:pt>
          <cx:pt idx="880">2</cx:pt>
          <cx:pt idx="881">1</cx:pt>
          <cx:pt idx="882">2</cx:pt>
          <cx:pt idx="883">1</cx:pt>
          <cx:pt idx="884">3</cx:pt>
          <cx:pt idx="885">3</cx:pt>
          <cx:pt idx="886">2</cx:pt>
          <cx:pt idx="887">3</cx:pt>
          <cx:pt idx="888">2</cx:pt>
          <cx:pt idx="889">2</cx:pt>
          <cx:pt idx="890">1</cx:pt>
          <cx:pt idx="891">3</cx:pt>
          <cx:pt idx="892">1</cx:pt>
          <cx:pt idx="893">1</cx:pt>
          <cx:pt idx="894">3</cx:pt>
          <cx:pt idx="895">4</cx:pt>
          <cx:pt idx="896">3</cx:pt>
          <cx:pt idx="897">1</cx:pt>
          <cx:pt idx="898">2</cx:pt>
          <cx:pt idx="899">2</cx:pt>
          <cx:pt idx="900">1</cx:pt>
          <cx:pt idx="901">2</cx:pt>
          <cx:pt idx="902">1</cx:pt>
          <cx:pt idx="903">2</cx:pt>
          <cx:pt idx="904">2</cx:pt>
          <cx:pt idx="905">5</cx:pt>
          <cx:pt idx="906">3</cx:pt>
          <cx:pt idx="907">2</cx:pt>
          <cx:pt idx="908">3</cx:pt>
          <cx:pt idx="909">1</cx:pt>
          <cx:pt idx="910">1</cx:pt>
          <cx:pt idx="911">3</cx:pt>
          <cx:pt idx="912">3</cx:pt>
          <cx:pt idx="913">3</cx:pt>
          <cx:pt idx="914">2</cx:pt>
          <cx:pt idx="915">3</cx:pt>
          <cx:pt idx="916">1</cx:pt>
          <cx:pt idx="917">1</cx:pt>
          <cx:pt idx="918">1</cx:pt>
          <cx:pt idx="919">2</cx:pt>
          <cx:pt idx="920">1</cx:pt>
          <cx:pt idx="921">1</cx:pt>
          <cx:pt idx="922">2</cx:pt>
          <cx:pt idx="923">1</cx:pt>
          <cx:pt idx="924">2</cx:pt>
          <cx:pt idx="925">3</cx:pt>
          <cx:pt idx="926">3</cx:pt>
          <cx:pt idx="927">2</cx:pt>
          <cx:pt idx="928">4</cx:pt>
          <cx:pt idx="929">3</cx:pt>
          <cx:pt idx="930">2</cx:pt>
          <cx:pt idx="931">1</cx:pt>
          <cx:pt idx="932">2</cx:pt>
          <cx:pt idx="933">2</cx:pt>
          <cx:pt idx="934">1</cx:pt>
          <cx:pt idx="935">4</cx:pt>
          <cx:pt idx="936">3</cx:pt>
          <cx:pt idx="937">1</cx:pt>
          <cx:pt idx="938">6</cx:pt>
          <cx:pt idx="939">3</cx:pt>
          <cx:pt idx="940">3</cx:pt>
          <cx:pt idx="941">3</cx:pt>
          <cx:pt idx="942">1</cx:pt>
          <cx:pt idx="943">1</cx:pt>
          <cx:pt idx="944">5</cx:pt>
          <cx:pt idx="945">2</cx:pt>
          <cx:pt idx="946">1</cx:pt>
          <cx:pt idx="947">1</cx:pt>
          <cx:pt idx="948">2</cx:pt>
          <cx:pt idx="949">1</cx:pt>
          <cx:pt idx="950">3</cx:pt>
          <cx:pt idx="951">2</cx:pt>
          <cx:pt idx="952">2</cx:pt>
          <cx:pt idx="953">1</cx:pt>
          <cx:pt idx="954">4</cx:pt>
          <cx:pt idx="955">3</cx:pt>
          <cx:pt idx="956">2</cx:pt>
          <cx:pt idx="957">1</cx:pt>
          <cx:pt idx="958">1</cx:pt>
          <cx:pt idx="959">3</cx:pt>
          <cx:pt idx="960">3</cx:pt>
          <cx:pt idx="961">5</cx:pt>
          <cx:pt idx="962">6</cx:pt>
          <cx:pt idx="963">2</cx:pt>
          <cx:pt idx="964">2</cx:pt>
          <cx:pt idx="965">4</cx:pt>
          <cx:pt idx="966">2</cx:pt>
          <cx:pt idx="967">2</cx:pt>
          <cx:pt idx="968">2</cx:pt>
          <cx:pt idx="969">1</cx:pt>
          <cx:pt idx="970">2</cx:pt>
          <cx:pt idx="971">1</cx:pt>
          <cx:pt idx="972">2</cx:pt>
          <cx:pt idx="973">1</cx:pt>
          <cx:pt idx="974">2</cx:pt>
          <cx:pt idx="975">4</cx:pt>
          <cx:pt idx="976">2</cx:pt>
          <cx:pt idx="977">1</cx:pt>
          <cx:pt idx="978">1</cx:pt>
          <cx:pt idx="979">2</cx:pt>
          <cx:pt idx="980">2</cx:pt>
          <cx:pt idx="981">2</cx:pt>
          <cx:pt idx="982">2</cx:pt>
          <cx:pt idx="983">4</cx:pt>
          <cx:pt idx="984">1</cx:pt>
          <cx:pt idx="985">1</cx:pt>
          <cx:pt idx="986">4</cx:pt>
          <cx:pt idx="987">1</cx:pt>
          <cx:pt idx="988">1</cx:pt>
          <cx:pt idx="989">4</cx:pt>
          <cx:pt idx="990">1</cx:pt>
          <cx:pt idx="991">2</cx:pt>
          <cx:pt idx="992">1</cx:pt>
          <cx:pt idx="993">2</cx:pt>
          <cx:pt idx="994">4</cx:pt>
          <cx:pt idx="995">1</cx:pt>
          <cx:pt idx="996">1</cx:pt>
          <cx:pt idx="997">2</cx:pt>
          <cx:pt idx="998">1</cx:pt>
          <cx:pt idx="999">2</cx:pt>
          <cx:pt idx="1000">2</cx:pt>
          <cx:pt idx="1001">1</cx:pt>
          <cx:pt idx="1002">4</cx:pt>
          <cx:pt idx="1003">1</cx:pt>
          <cx:pt idx="1004">1</cx:pt>
          <cx:pt idx="1005">1</cx:pt>
          <cx:pt idx="1006">2</cx:pt>
          <cx:pt idx="1007">1</cx:pt>
          <cx:pt idx="1008">3</cx:pt>
          <cx:pt idx="1009">2</cx:pt>
          <cx:pt idx="1010">1</cx:pt>
          <cx:pt idx="1011">2</cx:pt>
          <cx:pt idx="1012">1</cx:pt>
          <cx:pt idx="1013">2</cx:pt>
          <cx:pt idx="1014">1</cx:pt>
          <cx:pt idx="1015">4</cx:pt>
          <cx:pt idx="1016">2</cx:pt>
          <cx:pt idx="1017">1</cx:pt>
          <cx:pt idx="1018">2</cx:pt>
          <cx:pt idx="1019">5</cx:pt>
          <cx:pt idx="1020">1</cx:pt>
          <cx:pt idx="1021">1</cx:pt>
          <cx:pt idx="1022">1</cx:pt>
          <cx:pt idx="1023">3</cx:pt>
          <cx:pt idx="1024">3</cx:pt>
          <cx:pt idx="1025">1</cx:pt>
          <cx:pt idx="1026">2</cx:pt>
          <cx:pt idx="1027">2</cx:pt>
          <cx:pt idx="1028">2</cx:pt>
          <cx:pt idx="1029">2</cx:pt>
          <cx:pt idx="1030">2</cx:pt>
          <cx:pt idx="1031">3</cx:pt>
          <cx:pt idx="1032">1</cx:pt>
          <cx:pt idx="1033">1</cx:pt>
          <cx:pt idx="1034">2</cx:pt>
          <cx:pt idx="1035">1</cx:pt>
          <cx:pt idx="1036">2</cx:pt>
          <cx:pt idx="1037">1</cx:pt>
          <cx:pt idx="1038">1</cx:pt>
          <cx:pt idx="1039">1</cx:pt>
          <cx:pt idx="1040">1</cx:pt>
          <cx:pt idx="1041">2</cx:pt>
          <cx:pt idx="1042">1</cx:pt>
          <cx:pt idx="1043">5</cx:pt>
          <cx:pt idx="1044">1</cx:pt>
          <cx:pt idx="1045">2</cx:pt>
          <cx:pt idx="1046">1</cx:pt>
          <cx:pt idx="1047">1</cx:pt>
          <cx:pt idx="1048">2</cx:pt>
          <cx:pt idx="1049">4</cx:pt>
          <cx:pt idx="1050">2</cx:pt>
          <cx:pt idx="1051">2</cx:pt>
          <cx:pt idx="1052">3</cx:pt>
          <cx:pt idx="1053">2</cx:pt>
          <cx:pt idx="1054">2</cx:pt>
          <cx:pt idx="1055">2</cx:pt>
          <cx:pt idx="1056">1</cx:pt>
          <cx:pt idx="1057">3</cx:pt>
          <cx:pt idx="1058">1</cx:pt>
          <cx:pt idx="1059">1</cx:pt>
          <cx:pt idx="1060">3</cx:pt>
          <cx:pt idx="1061">1</cx:pt>
          <cx:pt idx="1062">2</cx:pt>
          <cx:pt idx="1063">4</cx:pt>
          <cx:pt idx="1064">3</cx:pt>
          <cx:pt idx="1065">2</cx:pt>
          <cx:pt idx="1066">5</cx:pt>
          <cx:pt idx="1067">1</cx:pt>
          <cx:pt idx="1068">1</cx:pt>
          <cx:pt idx="1069">3</cx:pt>
          <cx:pt idx="1070">5</cx:pt>
          <cx:pt idx="1071">1</cx:pt>
          <cx:pt idx="1072">1</cx:pt>
          <cx:pt idx="1073">1</cx:pt>
          <cx:pt idx="1074">1</cx:pt>
          <cx:pt idx="1075">1</cx:pt>
          <cx:pt idx="1076">1</cx:pt>
          <cx:pt idx="1077">1</cx:pt>
          <cx:pt idx="1078">1</cx:pt>
          <cx:pt idx="1079">1</cx:pt>
          <cx:pt idx="1080">2</cx:pt>
          <cx:pt idx="1081">1</cx:pt>
          <cx:pt idx="1082">4</cx:pt>
          <cx:pt idx="1083">2</cx:pt>
          <cx:pt idx="1084">6</cx:pt>
          <cx:pt idx="1085">1</cx:pt>
          <cx:pt idx="1086">2</cx:pt>
          <cx:pt idx="1087">1</cx:pt>
          <cx:pt idx="1088">3</cx:pt>
          <cx:pt idx="1089">1</cx:pt>
          <cx:pt idx="1090">1</cx:pt>
          <cx:pt idx="1091">1</cx:pt>
          <cx:pt idx="1092">2</cx:pt>
          <cx:pt idx="1093">2</cx:pt>
          <cx:pt idx="1094">1</cx:pt>
          <cx:pt idx="1095">2</cx:pt>
          <cx:pt idx="1096">3</cx:pt>
          <cx:pt idx="1097">2</cx:pt>
          <cx:pt idx="1098">1</cx:pt>
          <cx:pt idx="1099">2</cx:pt>
          <cx:pt idx="1100">1</cx:pt>
          <cx:pt idx="1101">1</cx:pt>
          <cx:pt idx="1102">2</cx:pt>
          <cx:pt idx="1103">1</cx:pt>
          <cx:pt idx="1104">1</cx:pt>
          <cx:pt idx="1105">3</cx:pt>
          <cx:pt idx="1106">1</cx:pt>
          <cx:pt idx="1107">1</cx:pt>
          <cx:pt idx="1108">1</cx:pt>
          <cx:pt idx="1109">2</cx:pt>
          <cx:pt idx="1110">5</cx:pt>
          <cx:pt idx="1111">2</cx:pt>
          <cx:pt idx="1112">2</cx:pt>
          <cx:pt idx="1113">2</cx:pt>
          <cx:pt idx="1114">3</cx:pt>
          <cx:pt idx="1115">3</cx:pt>
          <cx:pt idx="1116">5</cx:pt>
          <cx:pt idx="1117">4</cx:pt>
          <cx:pt idx="1118">2</cx:pt>
          <cx:pt idx="1119">3</cx:pt>
          <cx:pt idx="1120">4</cx:pt>
          <cx:pt idx="1121">2</cx:pt>
          <cx:pt idx="1122">4</cx:pt>
          <cx:pt idx="1123">1</cx:pt>
          <cx:pt idx="1124">1</cx:pt>
          <cx:pt idx="1125">4</cx:pt>
          <cx:pt idx="1126">4</cx:pt>
          <cx:pt idx="1127">1</cx:pt>
          <cx:pt idx="1128">4</cx:pt>
          <cx:pt idx="1129">1</cx:pt>
          <cx:pt idx="1130">4</cx:pt>
          <cx:pt idx="1131">5</cx:pt>
          <cx:pt idx="1132">4</cx:pt>
          <cx:pt idx="1133">5</cx:pt>
          <cx:pt idx="1134">1</cx:pt>
          <cx:pt idx="1135">1</cx:pt>
          <cx:pt idx="1136">1</cx:pt>
          <cx:pt idx="1137">1</cx:pt>
          <cx:pt idx="1138">4</cx:pt>
          <cx:pt idx="1139">3</cx:pt>
          <cx:pt idx="1140">3</cx:pt>
          <cx:pt idx="1141">3</cx:pt>
          <cx:pt idx="1142">1</cx:pt>
          <cx:pt idx="1143">3</cx:pt>
          <cx:pt idx="1144">1</cx:pt>
          <cx:pt idx="1145">4</cx:pt>
          <cx:pt idx="1146">2</cx:pt>
          <cx:pt idx="1147">2</cx:pt>
          <cx:pt idx="1148">3</cx:pt>
          <cx:pt idx="1149">3</cx:pt>
          <cx:pt idx="1150">3</cx:pt>
          <cx:pt idx="1151">4</cx:pt>
          <cx:pt idx="1152">5</cx:pt>
          <cx:pt idx="1153">4</cx:pt>
          <cx:pt idx="1154">3</cx:pt>
          <cx:pt idx="1155">4</cx:pt>
          <cx:pt idx="1156">2</cx:pt>
          <cx:pt idx="1157">1</cx:pt>
          <cx:pt idx="1158">3</cx:pt>
          <cx:pt idx="1159">1</cx:pt>
          <cx:pt idx="1160">2</cx:pt>
          <cx:pt idx="1161">1</cx:pt>
          <cx:pt idx="1162">3</cx:pt>
          <cx:pt idx="1163">3</cx:pt>
          <cx:pt idx="1164">2</cx:pt>
          <cx:pt idx="1165">3</cx:pt>
          <cx:pt idx="1166">2</cx:pt>
          <cx:pt idx="1167">1</cx:pt>
          <cx:pt idx="1168">1</cx:pt>
          <cx:pt idx="1169">2</cx:pt>
          <cx:pt idx="1170">1</cx:pt>
          <cx:pt idx="1171">1</cx:pt>
          <cx:pt idx="1172">1</cx:pt>
          <cx:pt idx="1173">1</cx:pt>
          <cx:pt idx="1174">1</cx:pt>
          <cx:pt idx="1175">1</cx:pt>
          <cx:pt idx="1176">3</cx:pt>
          <cx:pt idx="1177">1</cx:pt>
          <cx:pt idx="1178">2</cx:pt>
          <cx:pt idx="1179">2</cx:pt>
          <cx:pt idx="1180">5</cx:pt>
          <cx:pt idx="1181">3</cx:pt>
          <cx:pt idx="1182">3</cx:pt>
          <cx:pt idx="1183">1</cx:pt>
          <cx:pt idx="1184">1</cx:pt>
          <cx:pt idx="1185">3</cx:pt>
          <cx:pt idx="1186">2</cx:pt>
          <cx:pt idx="1187">4</cx:pt>
          <cx:pt idx="1188">1</cx:pt>
          <cx:pt idx="1189">2</cx:pt>
          <cx:pt idx="1190">1</cx:pt>
          <cx:pt idx="1191">2</cx:pt>
          <cx:pt idx="1192">2</cx:pt>
          <cx:pt idx="1193">1</cx:pt>
          <cx:pt idx="1194">1</cx:pt>
          <cx:pt idx="1195">3</cx:pt>
          <cx:pt idx="1196">2</cx:pt>
          <cx:pt idx="1197">2</cx:pt>
          <cx:pt idx="1198">3</cx:pt>
          <cx:pt idx="1199">3</cx:pt>
          <cx:pt idx="1200">1</cx:pt>
          <cx:pt idx="1201">1</cx:pt>
          <cx:pt idx="1202">1</cx:pt>
          <cx:pt idx="1203">1</cx:pt>
          <cx:pt idx="1204">2</cx:pt>
          <cx:pt idx="1205">2</cx:pt>
          <cx:pt idx="1206">4</cx:pt>
          <cx:pt idx="1207">1</cx:pt>
          <cx:pt idx="1208">1</cx:pt>
          <cx:pt idx="1209">4</cx:pt>
          <cx:pt idx="1210">2</cx:pt>
          <cx:pt idx="1211">1</cx:pt>
          <cx:pt idx="1212">3</cx:pt>
          <cx:pt idx="1213">3</cx:pt>
          <cx:pt idx="1214">3</cx:pt>
          <cx:pt idx="1215">4</cx:pt>
          <cx:pt idx="1216">1</cx:pt>
          <cx:pt idx="1217">2</cx:pt>
          <cx:pt idx="1218">2</cx:pt>
          <cx:pt idx="1219">1</cx:pt>
          <cx:pt idx="1220">1</cx:pt>
          <cx:pt idx="1221">1</cx:pt>
          <cx:pt idx="1222">1</cx:pt>
          <cx:pt idx="1223">5</cx:pt>
          <cx:pt idx="1224">1</cx:pt>
          <cx:pt idx="1225">1</cx:pt>
          <cx:pt idx="1226">3</cx:pt>
          <cx:pt idx="1227">3</cx:pt>
          <cx:pt idx="1228">1</cx:pt>
          <cx:pt idx="1229">5</cx:pt>
          <cx:pt idx="1230">4</cx:pt>
          <cx:pt idx="1231">3</cx:pt>
          <cx:pt idx="1232">1</cx:pt>
          <cx:pt idx="1233">2</cx:pt>
          <cx:pt idx="1234">5</cx:pt>
          <cx:pt idx="1235">5</cx:pt>
          <cx:pt idx="1236">3</cx:pt>
          <cx:pt idx="1237">1</cx:pt>
          <cx:pt idx="1238">1</cx:pt>
          <cx:pt idx="1239">6</cx:pt>
          <cx:pt idx="1240">1</cx:pt>
          <cx:pt idx="1241">2</cx:pt>
          <cx:pt idx="1242">4</cx:pt>
          <cx:pt idx="1243">1</cx:pt>
          <cx:pt idx="1244">2</cx:pt>
          <cx:pt idx="1245">3</cx:pt>
          <cx:pt idx="1246">1</cx:pt>
          <cx:pt idx="1247">1</cx:pt>
          <cx:pt idx="1248">2</cx:pt>
          <cx:pt idx="1249">4</cx:pt>
          <cx:pt idx="1250">1</cx:pt>
          <cx:pt idx="1251">1</cx:pt>
          <cx:pt idx="1252">2</cx:pt>
          <cx:pt idx="1253">2</cx:pt>
          <cx:pt idx="1254">1</cx:pt>
          <cx:pt idx="1255">2</cx:pt>
          <cx:pt idx="1256">2</cx:pt>
          <cx:pt idx="1257">4</cx:pt>
          <cx:pt idx="1258">1</cx:pt>
          <cx:pt idx="1259">2</cx:pt>
          <cx:pt idx="1260">1</cx:pt>
          <cx:pt idx="1261">2</cx:pt>
          <cx:pt idx="1262">3</cx:pt>
          <cx:pt idx="1263">2</cx:pt>
          <cx:pt idx="1264">3</cx:pt>
          <cx:pt idx="1265">1</cx:pt>
          <cx:pt idx="1266">2</cx:pt>
          <cx:pt idx="1267">2</cx:pt>
          <cx:pt idx="1268">2</cx:pt>
          <cx:pt idx="1269">3</cx:pt>
          <cx:pt idx="1270">2</cx:pt>
          <cx:pt idx="1271">2</cx:pt>
          <cx:pt idx="1272">2</cx:pt>
          <cx:pt idx="1273">1</cx:pt>
          <cx:pt idx="1274">1</cx:pt>
          <cx:pt idx="1275">1</cx:pt>
          <cx:pt idx="1276">2</cx:pt>
          <cx:pt idx="1277">4</cx:pt>
          <cx:pt idx="1278">1</cx:pt>
          <cx:pt idx="1279">2</cx:pt>
          <cx:pt idx="1280">3</cx:pt>
          <cx:pt idx="1281">4</cx:pt>
          <cx:pt idx="1282">2</cx:pt>
          <cx:pt idx="1283">3</cx:pt>
          <cx:pt idx="1284">1</cx:pt>
          <cx:pt idx="1285">3</cx:pt>
          <cx:pt idx="1286">1</cx:pt>
          <cx:pt idx="1287">2</cx:pt>
          <cx:pt idx="1288">4</cx:pt>
          <cx:pt idx="1289">4</cx:pt>
          <cx:pt idx="1290">5</cx:pt>
          <cx:pt idx="1291">3</cx:pt>
          <cx:pt idx="1292">1</cx:pt>
          <cx:pt idx="1293">2</cx:pt>
          <cx:pt idx="1294">2</cx:pt>
          <cx:pt idx="1295">4</cx:pt>
          <cx:pt idx="1296">1</cx:pt>
          <cx:pt idx="1297">2</cx:pt>
          <cx:pt idx="1298">4</cx:pt>
          <cx:pt idx="1299">1</cx:pt>
          <cx:pt idx="1300">2</cx:pt>
          <cx:pt idx="1301">3</cx:pt>
          <cx:pt idx="1302">3</cx:pt>
          <cx:pt idx="1303">2</cx:pt>
          <cx:pt idx="1304">1</cx:pt>
          <cx:pt idx="1305">1</cx:pt>
          <cx:pt idx="1306">3</cx:pt>
          <cx:pt idx="1307">3</cx:pt>
          <cx:pt idx="1308">2</cx:pt>
          <cx:pt idx="1309">5</cx:pt>
          <cx:pt idx="1310">4</cx:pt>
          <cx:pt idx="1311">5</cx:pt>
          <cx:pt idx="1312">2</cx:pt>
          <cx:pt idx="1313">1</cx:pt>
          <cx:pt idx="1314">2</cx:pt>
          <cx:pt idx="1315">2</cx:pt>
          <cx:pt idx="1316">2</cx:pt>
          <cx:pt idx="1317">1</cx:pt>
          <cx:pt idx="1318">1</cx:pt>
          <cx:pt idx="1319">3</cx:pt>
          <cx:pt idx="1320">1</cx:pt>
          <cx:pt idx="1321">1</cx:pt>
          <cx:pt idx="1322">1</cx:pt>
          <cx:pt idx="1323">1</cx:pt>
          <cx:pt idx="1324">1</cx:pt>
          <cx:pt idx="1325">4</cx:pt>
          <cx:pt idx="1326">2</cx:pt>
          <cx:pt idx="1327">1</cx:pt>
          <cx:pt idx="1328">3</cx:pt>
          <cx:pt idx="1329">2</cx:pt>
          <cx:pt idx="1330">2</cx:pt>
          <cx:pt idx="1331">1</cx:pt>
          <cx:pt idx="1332">1</cx:pt>
          <cx:pt idx="1333">2</cx:pt>
          <cx:pt idx="1334">1</cx:pt>
          <cx:pt idx="1335">1</cx:pt>
          <cx:pt idx="1336">1</cx:pt>
          <cx:pt idx="1337">2</cx:pt>
          <cx:pt idx="1338">2</cx:pt>
          <cx:pt idx="1339">1</cx:pt>
          <cx:pt idx="1340">2</cx:pt>
          <cx:pt idx="1341">3</cx:pt>
          <cx:pt idx="1342">3</cx:pt>
          <cx:pt idx="1343">2</cx:pt>
          <cx:pt idx="1344">3</cx:pt>
          <cx:pt idx="1345">2</cx:pt>
          <cx:pt idx="1346">3</cx:pt>
          <cx:pt idx="1347">3</cx:pt>
          <cx:pt idx="1348">2</cx:pt>
          <cx:pt idx="1349">5</cx:pt>
          <cx:pt idx="1350">1</cx:pt>
          <cx:pt idx="1351">2</cx:pt>
          <cx:pt idx="1352">2</cx:pt>
          <cx:pt idx="1353">3</cx:pt>
          <cx:pt idx="1354">1</cx:pt>
          <cx:pt idx="1355">1</cx:pt>
          <cx:pt idx="1356">3</cx:pt>
          <cx:pt idx="1357">3</cx:pt>
          <cx:pt idx="1358">4</cx:pt>
          <cx:pt idx="1359">1</cx:pt>
          <cx:pt idx="1360">4</cx:pt>
          <cx:pt idx="1361">3</cx:pt>
          <cx:pt idx="1362">1</cx:pt>
          <cx:pt idx="1363">1</cx:pt>
          <cx:pt idx="1364">1</cx:pt>
          <cx:pt idx="1365">1</cx:pt>
          <cx:pt idx="1366">2</cx:pt>
          <cx:pt idx="1367">4</cx:pt>
          <cx:pt idx="1368">1</cx:pt>
          <cx:pt idx="1369">2</cx:pt>
          <cx:pt idx="1370">1</cx:pt>
          <cx:pt idx="1371">2</cx:pt>
          <cx:pt idx="1372">1</cx:pt>
          <cx:pt idx="1373">1</cx:pt>
          <cx:pt idx="1374">1</cx:pt>
          <cx:pt idx="1375">2</cx:pt>
          <cx:pt idx="1376">4</cx:pt>
          <cx:pt idx="1377">1</cx:pt>
          <cx:pt idx="1378">2</cx:pt>
          <cx:pt idx="1379">1</cx:pt>
          <cx:pt idx="1380">2</cx:pt>
          <cx:pt idx="1381">1</cx:pt>
          <cx:pt idx="1382">2</cx:pt>
          <cx:pt idx="1383">3</cx:pt>
          <cx:pt idx="1384">2</cx:pt>
          <cx:pt idx="1385">1</cx:pt>
          <cx:pt idx="1386">1</cx:pt>
          <cx:pt idx="1387">2</cx:pt>
          <cx:pt idx="1388">1</cx:pt>
          <cx:pt idx="1389">1</cx:pt>
          <cx:pt idx="1390">2</cx:pt>
          <cx:pt idx="1391">2</cx:pt>
          <cx:pt idx="1392">3</cx:pt>
          <cx:pt idx="1393">2</cx:pt>
          <cx:pt idx="1394">2</cx:pt>
          <cx:pt idx="1395">1</cx:pt>
          <cx:pt idx="1396">3</cx:pt>
          <cx:pt idx="1397">3</cx:pt>
          <cx:pt idx="1398">1</cx:pt>
          <cx:pt idx="1399">2</cx:pt>
          <cx:pt idx="1400">1</cx:pt>
          <cx:pt idx="1401">4</cx:pt>
          <cx:pt idx="1402">1</cx:pt>
          <cx:pt idx="1403">1</cx:pt>
          <cx:pt idx="1404">1</cx:pt>
          <cx:pt idx="1405">2</cx:pt>
          <cx:pt idx="1406">1</cx:pt>
          <cx:pt idx="1407">1</cx:pt>
          <cx:pt idx="1408">2</cx:pt>
          <cx:pt idx="1409">2</cx:pt>
          <cx:pt idx="1410">4</cx:pt>
          <cx:pt idx="1411">3</cx:pt>
          <cx:pt idx="1412">1</cx:pt>
          <cx:pt idx="1413">1</cx:pt>
          <cx:pt idx="1414">3</cx:pt>
          <cx:pt idx="1415">1</cx:pt>
          <cx:pt idx="1416">1</cx:pt>
          <cx:pt idx="1417">5</cx:pt>
          <cx:pt idx="1418">2</cx:pt>
          <cx:pt idx="1419">3</cx:pt>
          <cx:pt idx="1420">2</cx:pt>
          <cx:pt idx="1421">2</cx:pt>
          <cx:pt idx="1422">2</cx:pt>
          <cx:pt idx="1423">1</cx:pt>
          <cx:pt idx="1424">4</cx:pt>
          <cx:pt idx="1425">1</cx:pt>
          <cx:pt idx="1426">2</cx:pt>
          <cx:pt idx="1427">2</cx:pt>
          <cx:pt idx="1428">2</cx:pt>
          <cx:pt idx="1429">3</cx:pt>
          <cx:pt idx="1430">2</cx:pt>
          <cx:pt idx="1431">1</cx:pt>
          <cx:pt idx="1432">3</cx:pt>
          <cx:pt idx="1433">1</cx:pt>
          <cx:pt idx="1434">3</cx:pt>
          <cx:pt idx="1435">2</cx:pt>
          <cx:pt idx="1436">2</cx:pt>
          <cx:pt idx="1437">1</cx:pt>
          <cx:pt idx="1438">3</cx:pt>
          <cx:pt idx="1439">1</cx:pt>
          <cx:pt idx="1440">1</cx:pt>
          <cx:pt idx="1441">1</cx:pt>
          <cx:pt idx="1442">3</cx:pt>
          <cx:pt idx="1443">2</cx:pt>
          <cx:pt idx="1444">1</cx:pt>
          <cx:pt idx="1445">2</cx:pt>
          <cx:pt idx="1446">1</cx:pt>
          <cx:pt idx="1447">2</cx:pt>
          <cx:pt idx="1448">1</cx:pt>
          <cx:pt idx="1449">1</cx:pt>
          <cx:pt idx="1450">2</cx:pt>
          <cx:pt idx="1451">2</cx:pt>
          <cx:pt idx="1452">2</cx:pt>
          <cx:pt idx="1453">1</cx:pt>
          <cx:pt idx="1454">1</cx:pt>
          <cx:pt idx="1455">1</cx:pt>
          <cx:pt idx="1456">1</cx:pt>
          <cx:pt idx="1457">2</cx:pt>
          <cx:pt idx="1458">2</cx:pt>
          <cx:pt idx="1459">1</cx:pt>
          <cx:pt idx="1460">1</cx:pt>
          <cx:pt idx="1461">4</cx:pt>
          <cx:pt idx="1462">1</cx:pt>
          <cx:pt idx="1463">2</cx:pt>
          <cx:pt idx="1464">1</cx:pt>
          <cx:pt idx="1465">1</cx:pt>
          <cx:pt idx="1466">4</cx:pt>
          <cx:pt idx="1467">2</cx:pt>
          <cx:pt idx="1468">1</cx:pt>
          <cx:pt idx="1469">1</cx:pt>
          <cx:pt idx="1470">2</cx:pt>
          <cx:pt idx="1471">3</cx:pt>
          <cx:pt idx="1472">3</cx:pt>
          <cx:pt idx="1473">1</cx:pt>
          <cx:pt idx="1474">1</cx:pt>
          <cx:pt idx="1475">1</cx:pt>
          <cx:pt idx="1476">2</cx:pt>
          <cx:pt idx="1477">1</cx:pt>
          <cx:pt idx="1478">1</cx:pt>
          <cx:pt idx="1479">1</cx:pt>
          <cx:pt idx="1480">1</cx:pt>
          <cx:pt idx="1481">4</cx:pt>
          <cx:pt idx="1482">3</cx:pt>
          <cx:pt idx="1483">1</cx:pt>
          <cx:pt idx="1484">7</cx:pt>
          <cx:pt idx="1485">1</cx:pt>
          <cx:pt idx="1486">1</cx:pt>
          <cx:pt idx="1487">1</cx:pt>
          <cx:pt idx="1488">1</cx:pt>
          <cx:pt idx="1489">1</cx:pt>
          <cx:pt idx="1490">1</cx:pt>
          <cx:pt idx="1491">2</cx:pt>
          <cx:pt idx="1492">4</cx:pt>
          <cx:pt idx="1493">2</cx:pt>
          <cx:pt idx="1494">3</cx:pt>
          <cx:pt idx="1495">1</cx:pt>
          <cx:pt idx="1496">2</cx:pt>
          <cx:pt idx="1497">1</cx:pt>
          <cx:pt idx="1498">2</cx:pt>
          <cx:pt idx="1499">1</cx:pt>
          <cx:pt idx="1500">2</cx:pt>
          <cx:pt idx="1501">2</cx:pt>
          <cx:pt idx="1502">1</cx:pt>
          <cx:pt idx="1503">1</cx:pt>
          <cx:pt idx="1504">3</cx:pt>
          <cx:pt idx="1505">2</cx:pt>
          <cx:pt idx="1506">1</cx:pt>
          <cx:pt idx="1507">1</cx:pt>
          <cx:pt idx="1508">2</cx:pt>
          <cx:pt idx="1509">3</cx:pt>
          <cx:pt idx="1510">2</cx:pt>
          <cx:pt idx="1511">4</cx:pt>
          <cx:pt idx="1512">1</cx:pt>
          <cx:pt idx="1513">1</cx:pt>
          <cx:pt idx="1514">6</cx:pt>
          <cx:pt idx="1515">4</cx:pt>
          <cx:pt idx="1516">1</cx:pt>
          <cx:pt idx="1517">1</cx:pt>
          <cx:pt idx="1518">2</cx:pt>
          <cx:pt idx="1519">2</cx:pt>
          <cx:pt idx="1520">2</cx:pt>
          <cx:pt idx="1521">2</cx:pt>
          <cx:pt idx="1522">2</cx:pt>
          <cx:pt idx="1523">1</cx:pt>
          <cx:pt idx="1524">2</cx:pt>
          <cx:pt idx="1525">4</cx:pt>
          <cx:pt idx="1526">2</cx:pt>
          <cx:pt idx="1527">3</cx:pt>
          <cx:pt idx="1528">3</cx:pt>
          <cx:pt idx="1529">2</cx:pt>
          <cx:pt idx="1530">1</cx:pt>
          <cx:pt idx="1531">1</cx:pt>
          <cx:pt idx="1532">2</cx:pt>
          <cx:pt idx="1533">1</cx:pt>
          <cx:pt idx="1534">3</cx:pt>
          <cx:pt idx="1535">2</cx:pt>
          <cx:pt idx="1536">2</cx:pt>
          <cx:pt idx="1537">1</cx:pt>
          <cx:pt idx="1538">1</cx:pt>
          <cx:pt idx="1539">2</cx:pt>
          <cx:pt idx="1540">4</cx:pt>
          <cx:pt idx="1541">1</cx:pt>
          <cx:pt idx="1542">2</cx:pt>
          <cx:pt idx="1543">2</cx:pt>
          <cx:pt idx="1544">3</cx:pt>
          <cx:pt idx="1545">1</cx:pt>
          <cx:pt idx="1546">1</cx:pt>
          <cx:pt idx="1547">1</cx:pt>
          <cx:pt idx="1548">1</cx:pt>
          <cx:pt idx="1549">1</cx:pt>
          <cx:pt idx="1550">2</cx:pt>
          <cx:pt idx="1551">1</cx:pt>
          <cx:pt idx="1552">1</cx:pt>
          <cx:pt idx="1553">2</cx:pt>
          <cx:pt idx="1554">1</cx:pt>
          <cx:pt idx="1555">2</cx:pt>
          <cx:pt idx="1556">1</cx:pt>
          <cx:pt idx="1557">1</cx:pt>
          <cx:pt idx="1558">3</cx:pt>
          <cx:pt idx="1559">3</cx:pt>
          <cx:pt idx="1560">1</cx:pt>
          <cx:pt idx="1561">4</cx:pt>
          <cx:pt idx="1562">5</cx:pt>
          <cx:pt idx="1563">2</cx:pt>
          <cx:pt idx="1564">2</cx:pt>
          <cx:pt idx="1565">2</cx:pt>
          <cx:pt idx="1566">1</cx:pt>
          <cx:pt idx="1567">5</cx:pt>
          <cx:pt idx="1568">3</cx:pt>
          <cx:pt idx="1569">2</cx:pt>
          <cx:pt idx="1570">5</cx:pt>
          <cx:pt idx="1571">1</cx:pt>
          <cx:pt idx="1572">1</cx:pt>
          <cx:pt idx="1573">1</cx:pt>
          <cx:pt idx="1574">1</cx:pt>
          <cx:pt idx="1575">3</cx:pt>
          <cx:pt idx="1576">4</cx:pt>
          <cx:pt idx="1577">3</cx:pt>
          <cx:pt idx="1578">1</cx:pt>
          <cx:pt idx="1579">2</cx:pt>
          <cx:pt idx="1580">3</cx:pt>
          <cx:pt idx="1581">1</cx:pt>
          <cx:pt idx="1582">2</cx:pt>
          <cx:pt idx="1583">1</cx:pt>
          <cx:pt idx="1584">1</cx:pt>
          <cx:pt idx="1585">4</cx:pt>
          <cx:pt idx="1586">5</cx:pt>
          <cx:pt idx="1587">2</cx:pt>
          <cx:pt idx="1588">1</cx:pt>
          <cx:pt idx="1589">3</cx:pt>
          <cx:pt idx="1590">3</cx:pt>
          <cx:pt idx="1591">2</cx:pt>
          <cx:pt idx="1592">1</cx:pt>
          <cx:pt idx="1593">1</cx:pt>
          <cx:pt idx="1594">2</cx:pt>
          <cx:pt idx="1595">2</cx:pt>
          <cx:pt idx="1596">2</cx:pt>
          <cx:pt idx="1597">2</cx:pt>
          <cx:pt idx="1598">2</cx:pt>
          <cx:pt idx="1599">1</cx:pt>
          <cx:pt idx="1600">1</cx:pt>
          <cx:pt idx="1601">1</cx:pt>
          <cx:pt idx="1602">3</cx:pt>
          <cx:pt idx="1603">3</cx:pt>
          <cx:pt idx="1604">3</cx:pt>
          <cx:pt idx="1605">2</cx:pt>
          <cx:pt idx="1606">1</cx:pt>
          <cx:pt idx="1607">1</cx:pt>
          <cx:pt idx="1608">3</cx:pt>
          <cx:pt idx="1609">3</cx:pt>
          <cx:pt idx="1610">1</cx:pt>
          <cx:pt idx="1611">2</cx:pt>
          <cx:pt idx="1612">4</cx:pt>
          <cx:pt idx="1613">4</cx:pt>
          <cx:pt idx="1614">4</cx:pt>
          <cx:pt idx="1615">1</cx:pt>
          <cx:pt idx="1616">1</cx:pt>
          <cx:pt idx="1617">3</cx:pt>
          <cx:pt idx="1618">2</cx:pt>
          <cx:pt idx="1619">2</cx:pt>
          <cx:pt idx="1620">1</cx:pt>
          <cx:pt idx="1621">1</cx:pt>
          <cx:pt idx="1622">2</cx:pt>
          <cx:pt idx="1623">1</cx:pt>
          <cx:pt idx="1624">1</cx:pt>
          <cx:pt idx="1625">2</cx:pt>
          <cx:pt idx="1626">2</cx:pt>
          <cx:pt idx="1627">1</cx:pt>
          <cx:pt idx="1628">2</cx:pt>
          <cx:pt idx="1629">3</cx:pt>
          <cx:pt idx="1630">2</cx:pt>
          <cx:pt idx="1631">1</cx:pt>
          <cx:pt idx="1632">1</cx:pt>
          <cx:pt idx="1633">3</cx:pt>
          <cx:pt idx="1634">3</cx:pt>
          <cx:pt idx="1635">1</cx:pt>
          <cx:pt idx="1636">4</cx:pt>
          <cx:pt idx="1637">1</cx:pt>
          <cx:pt idx="1638">1</cx:pt>
          <cx:pt idx="1639">3</cx:pt>
          <cx:pt idx="1640">2</cx:pt>
          <cx:pt idx="1641">2</cx:pt>
          <cx:pt idx="1642">1</cx:pt>
          <cx:pt idx="1643">1</cx:pt>
          <cx:pt idx="1644">1</cx:pt>
          <cx:pt idx="1645">2</cx:pt>
          <cx:pt idx="1646">2</cx:pt>
          <cx:pt idx="1647">2</cx:pt>
          <cx:pt idx="1648">1</cx:pt>
          <cx:pt idx="1649">1</cx:pt>
          <cx:pt idx="1650">1</cx:pt>
          <cx:pt idx="1651">6</cx:pt>
          <cx:pt idx="1652">1</cx:pt>
          <cx:pt idx="1653">1</cx:pt>
          <cx:pt idx="1654">4</cx:pt>
          <cx:pt idx="1655">1</cx:pt>
          <cx:pt idx="1656">1</cx:pt>
          <cx:pt idx="1657">2</cx:pt>
          <cx:pt idx="1658">3</cx:pt>
          <cx:pt idx="1659">3</cx:pt>
          <cx:pt idx="1660">1</cx:pt>
          <cx:pt idx="1661">1</cx:pt>
          <cx:pt idx="1662">5</cx:pt>
          <cx:pt idx="1663">2</cx:pt>
          <cx:pt idx="1664">2</cx:pt>
          <cx:pt idx="1665">3</cx:pt>
          <cx:pt idx="1666">2</cx:pt>
          <cx:pt idx="1667">1</cx:pt>
          <cx:pt idx="1668">1</cx:pt>
          <cx:pt idx="1669">4</cx:pt>
          <cx:pt idx="1670">3</cx:pt>
          <cx:pt idx="1671">2</cx:pt>
          <cx:pt idx="1672">1</cx:pt>
          <cx:pt idx="1673">2</cx:pt>
          <cx:pt idx="1674">2</cx:pt>
          <cx:pt idx="1675">1</cx:pt>
          <cx:pt idx="1676">1</cx:pt>
          <cx:pt idx="1677">1</cx:pt>
          <cx:pt idx="1678">1</cx:pt>
          <cx:pt idx="1679">2</cx:pt>
          <cx:pt idx="1680">4</cx:pt>
          <cx:pt idx="1681">1</cx:pt>
          <cx:pt idx="1682">3</cx:pt>
          <cx:pt idx="1683">3</cx:pt>
          <cx:pt idx="1684">5</cx:pt>
          <cx:pt idx="1685">4</cx:pt>
          <cx:pt idx="1686">1</cx:pt>
          <cx:pt idx="1687">4</cx:pt>
          <cx:pt idx="1688">2</cx:pt>
          <cx:pt idx="1689">4</cx:pt>
          <cx:pt idx="1690">1</cx:pt>
          <cx:pt idx="1691">3</cx:pt>
          <cx:pt idx="1692">1</cx:pt>
          <cx:pt idx="1693">4</cx:pt>
          <cx:pt idx="1694">3</cx:pt>
          <cx:pt idx="1695">2</cx:pt>
          <cx:pt idx="1696">2</cx:pt>
          <cx:pt idx="1697">2</cx:pt>
          <cx:pt idx="1698">1</cx:pt>
          <cx:pt idx="1699">3</cx:pt>
          <cx:pt idx="1700">2</cx:pt>
          <cx:pt idx="1701">3</cx:pt>
          <cx:pt idx="1702">2</cx:pt>
          <cx:pt idx="1703">1</cx:pt>
          <cx:pt idx="1704">4</cx:pt>
          <cx:pt idx="1705">4</cx:pt>
          <cx:pt idx="1706">1</cx:pt>
          <cx:pt idx="1707">3</cx:pt>
          <cx:pt idx="1708">5</cx:pt>
          <cx:pt idx="1709">1</cx:pt>
          <cx:pt idx="1710">2</cx:pt>
          <cx:pt idx="1711">2</cx:pt>
          <cx:pt idx="1712">3</cx:pt>
          <cx:pt idx="1713">2</cx:pt>
          <cx:pt idx="1714">2</cx:pt>
          <cx:pt idx="1715">2</cx:pt>
          <cx:pt idx="1716">2</cx:pt>
          <cx:pt idx="1717">5</cx:pt>
          <cx:pt idx="1718">3</cx:pt>
          <cx:pt idx="1719">1</cx:pt>
          <cx:pt idx="1720">6</cx:pt>
          <cx:pt idx="1721">1</cx:pt>
          <cx:pt idx="1722">1</cx:pt>
          <cx:pt idx="1723">3</cx:pt>
          <cx:pt idx="1724">2</cx:pt>
          <cx:pt idx="1725">1</cx:pt>
          <cx:pt idx="1726">3</cx:pt>
          <cx:pt idx="1727">3</cx:pt>
          <cx:pt idx="1728">5</cx:pt>
          <cx:pt idx="1729">1</cx:pt>
          <cx:pt idx="1730">2</cx:pt>
          <cx:pt idx="1731">2</cx:pt>
          <cx:pt idx="1732">1</cx:pt>
          <cx:pt idx="1733">3</cx:pt>
          <cx:pt idx="1734">2</cx:pt>
          <cx:pt idx="1735">1</cx:pt>
          <cx:pt idx="1736">2</cx:pt>
          <cx:pt idx="1737">1</cx:pt>
          <cx:pt idx="1738">2</cx:pt>
          <cx:pt idx="1739">5</cx:pt>
          <cx:pt idx="1740">1</cx:pt>
          <cx:pt idx="1741">3</cx:pt>
          <cx:pt idx="1742">4</cx:pt>
          <cx:pt idx="1743">1</cx:pt>
          <cx:pt idx="1744">5</cx:pt>
          <cx:pt idx="1745">3</cx:pt>
          <cx:pt idx="1746">3</cx:pt>
          <cx:pt idx="1747">3</cx:pt>
          <cx:pt idx="1748">1</cx:pt>
          <cx:pt idx="1749">2</cx:pt>
          <cx:pt idx="1750">4</cx:pt>
          <cx:pt idx="1751">1</cx:pt>
          <cx:pt idx="1752">2</cx:pt>
          <cx:pt idx="1753">2</cx:pt>
          <cx:pt idx="1754">3</cx:pt>
          <cx:pt idx="1755">2</cx:pt>
          <cx:pt idx="1756">5</cx:pt>
          <cx:pt idx="1757">3</cx:pt>
          <cx:pt idx="1758">3</cx:pt>
          <cx:pt idx="1759">2</cx:pt>
          <cx:pt idx="1760">4</cx:pt>
          <cx:pt idx="1761">1</cx:pt>
          <cx:pt idx="1762">1</cx:pt>
          <cx:pt idx="1763">2</cx:pt>
          <cx:pt idx="1764">3</cx:pt>
          <cx:pt idx="1765">1</cx:pt>
          <cx:pt idx="1766">1</cx:pt>
          <cx:pt idx="1767">1</cx:pt>
          <cx:pt idx="1768">1</cx:pt>
          <cx:pt idx="1769">1</cx:pt>
          <cx:pt idx="1770">1</cx:pt>
          <cx:pt idx="1771">1</cx:pt>
          <cx:pt idx="1772">2</cx:pt>
          <cx:pt idx="1773">1</cx:pt>
          <cx:pt idx="1774">2</cx:pt>
          <cx:pt idx="1775">3</cx:pt>
          <cx:pt idx="1776">2</cx:pt>
          <cx:pt idx="1777">1</cx:pt>
          <cx:pt idx="1778">2</cx:pt>
          <cx:pt idx="1779">1</cx:pt>
          <cx:pt idx="1780">2</cx:pt>
          <cx:pt idx="1781">3</cx:pt>
          <cx:pt idx="1782">3</cx:pt>
          <cx:pt idx="1783">1</cx:pt>
          <cx:pt idx="1784">1</cx:pt>
          <cx:pt idx="1785">1</cx:pt>
          <cx:pt idx="1786">4</cx:pt>
          <cx:pt idx="1787">1</cx:pt>
          <cx:pt idx="1788">4</cx:pt>
          <cx:pt idx="1789">1</cx:pt>
          <cx:pt idx="1790">2</cx:pt>
          <cx:pt idx="1791">1</cx:pt>
          <cx:pt idx="1792">1</cx:pt>
          <cx:pt idx="1793">1</cx:pt>
          <cx:pt idx="1794">2</cx:pt>
          <cx:pt idx="1795">1</cx:pt>
          <cx:pt idx="1796">2</cx:pt>
          <cx:pt idx="1797">2</cx:pt>
          <cx:pt idx="1798">1</cx:pt>
          <cx:pt idx="1799">4</cx:pt>
          <cx:pt idx="1800">1</cx:pt>
          <cx:pt idx="1801">3</cx:pt>
          <cx:pt idx="1802">2</cx:pt>
          <cx:pt idx="1803">2</cx:pt>
          <cx:pt idx="1804">5</cx:pt>
          <cx:pt idx="1805">1</cx:pt>
          <cx:pt idx="1806">2</cx:pt>
          <cx:pt idx="1807">4</cx:pt>
          <cx:pt idx="1808">4</cx:pt>
          <cx:pt idx="1809">1</cx:pt>
          <cx:pt idx="1810">1</cx:pt>
          <cx:pt idx="1811">3</cx:pt>
          <cx:pt idx="1812">1</cx:pt>
          <cx:pt idx="1813">1</cx:pt>
          <cx:pt idx="1814">2</cx:pt>
          <cx:pt idx="1815">2</cx:pt>
          <cx:pt idx="1816">1</cx:pt>
          <cx:pt idx="1817">2</cx:pt>
          <cx:pt idx="1818">2</cx:pt>
          <cx:pt idx="1819">2</cx:pt>
          <cx:pt idx="1820">4</cx:pt>
          <cx:pt idx="1821">1</cx:pt>
          <cx:pt idx="1822">1</cx:pt>
          <cx:pt idx="1823">1</cx:pt>
          <cx:pt idx="1824">2</cx:pt>
          <cx:pt idx="1825">3</cx:pt>
          <cx:pt idx="1826">1</cx:pt>
          <cx:pt idx="1827">3</cx:pt>
          <cx:pt idx="1828">2</cx:pt>
          <cx:pt idx="1829">4</cx:pt>
          <cx:pt idx="1830">1</cx:pt>
          <cx:pt idx="1831">3</cx:pt>
          <cx:pt idx="1832">1</cx:pt>
          <cx:pt idx="1833">1</cx:pt>
          <cx:pt idx="1834">1</cx:pt>
          <cx:pt idx="1835">3</cx:pt>
          <cx:pt idx="1836">2</cx:pt>
          <cx:pt idx="1837">2</cx:pt>
          <cx:pt idx="1838">1</cx:pt>
          <cx:pt idx="1839">4</cx:pt>
          <cx:pt idx="1840">1</cx:pt>
          <cx:pt idx="1841">2</cx:pt>
          <cx:pt idx="1842">6</cx:pt>
          <cx:pt idx="1843">4</cx:pt>
          <cx:pt idx="1844">2</cx:pt>
          <cx:pt idx="1845">1</cx:pt>
          <cx:pt idx="1846">2</cx:pt>
          <cx:pt idx="1847">2</cx:pt>
          <cx:pt idx="1848">1</cx:pt>
          <cx:pt idx="1849">1</cx:pt>
          <cx:pt idx="1850">3</cx:pt>
          <cx:pt idx="1851">3</cx:pt>
          <cx:pt idx="1852">1</cx:pt>
          <cx:pt idx="1853">2</cx:pt>
          <cx:pt idx="1854">2</cx:pt>
          <cx:pt idx="1855">2</cx:pt>
          <cx:pt idx="1856">3</cx:pt>
          <cx:pt idx="1857">3</cx:pt>
          <cx:pt idx="1858">3</cx:pt>
          <cx:pt idx="1859">3</cx:pt>
          <cx:pt idx="1860">1</cx:pt>
          <cx:pt idx="1861">1</cx:pt>
          <cx:pt idx="1862">1</cx:pt>
          <cx:pt idx="1863">2</cx:pt>
          <cx:pt idx="1864">2</cx:pt>
          <cx:pt idx="1865">3</cx:pt>
          <cx:pt idx="1866">1</cx:pt>
          <cx:pt idx="1867">2</cx:pt>
          <cx:pt idx="1868">1</cx:pt>
          <cx:pt idx="1869">2</cx:pt>
          <cx:pt idx="1870">2</cx:pt>
          <cx:pt idx="1871">1</cx:pt>
          <cx:pt idx="1872">4</cx:pt>
          <cx:pt idx="1873">2</cx:pt>
          <cx:pt idx="1874">1</cx:pt>
          <cx:pt idx="1875">6</cx:pt>
          <cx:pt idx="1876">1</cx:pt>
          <cx:pt idx="1877">1</cx:pt>
          <cx:pt idx="1878">1</cx:pt>
          <cx:pt idx="1879">1</cx:pt>
          <cx:pt idx="1880">2</cx:pt>
          <cx:pt idx="1881">1</cx:pt>
          <cx:pt idx="1882">2</cx:pt>
          <cx:pt idx="1883">1</cx:pt>
          <cx:pt idx="1884">2</cx:pt>
          <cx:pt idx="1885">1</cx:pt>
          <cx:pt idx="1886">2</cx:pt>
          <cx:pt idx="1887">2</cx:pt>
          <cx:pt idx="1888">1</cx:pt>
          <cx:pt idx="1889">2</cx:pt>
          <cx:pt idx="1890">3</cx:pt>
          <cx:pt idx="1891">1</cx:pt>
          <cx:pt idx="1892">1</cx:pt>
          <cx:pt idx="1893">1</cx:pt>
          <cx:pt idx="1894">2</cx:pt>
          <cx:pt idx="1895">2</cx:pt>
          <cx:pt idx="1896">1</cx:pt>
          <cx:pt idx="1897">1</cx:pt>
          <cx:pt idx="1898">1</cx:pt>
          <cx:pt idx="1899">1</cx:pt>
          <cx:pt idx="1900">1</cx:pt>
          <cx:pt idx="1901">1</cx:pt>
          <cx:pt idx="1902">1</cx:pt>
          <cx:pt idx="1903">1</cx:pt>
          <cx:pt idx="1904">2</cx:pt>
          <cx:pt idx="1905">2</cx:pt>
          <cx:pt idx="1906">2</cx:pt>
          <cx:pt idx="1907">1</cx:pt>
          <cx:pt idx="1908">1</cx:pt>
          <cx:pt idx="1909">2</cx:pt>
          <cx:pt idx="1910">2</cx:pt>
          <cx:pt idx="1911">4</cx:pt>
          <cx:pt idx="1912">1</cx:pt>
          <cx:pt idx="1913">1</cx:pt>
          <cx:pt idx="1914">2</cx:pt>
          <cx:pt idx="1915">2</cx:pt>
          <cx:pt idx="1916">1</cx:pt>
          <cx:pt idx="1917">3</cx:pt>
          <cx:pt idx="1918">3</cx:pt>
          <cx:pt idx="1919">2</cx:pt>
          <cx:pt idx="1920">1</cx:pt>
          <cx:pt idx="1921">2</cx:pt>
          <cx:pt idx="1922">3</cx:pt>
          <cx:pt idx="1923">1</cx:pt>
          <cx:pt idx="1924">3</cx:pt>
          <cx:pt idx="1925">1</cx:pt>
          <cx:pt idx="1926">2</cx:pt>
          <cx:pt idx="1927">1</cx:pt>
          <cx:pt idx="1928">2</cx:pt>
          <cx:pt idx="1929">2</cx:pt>
          <cx:pt idx="1930">3</cx:pt>
          <cx:pt idx="1931">2</cx:pt>
          <cx:pt idx="1932">1</cx:pt>
          <cx:pt idx="1933">1</cx:pt>
          <cx:pt idx="1934">2</cx:pt>
          <cx:pt idx="1935">2</cx:pt>
          <cx:pt idx="1936">4</cx:pt>
          <cx:pt idx="1937">1</cx:pt>
          <cx:pt idx="1938">2</cx:pt>
          <cx:pt idx="1939">1</cx:pt>
          <cx:pt idx="1940">2</cx:pt>
          <cx:pt idx="1941">1</cx:pt>
          <cx:pt idx="1942">3</cx:pt>
          <cx:pt idx="1943">1</cx:pt>
          <cx:pt idx="1944">2</cx:pt>
          <cx:pt idx="1945">2</cx:pt>
          <cx:pt idx="1946">2</cx:pt>
          <cx:pt idx="1947">1</cx:pt>
          <cx:pt idx="1948">1</cx:pt>
          <cx:pt idx="1949">2</cx:pt>
          <cx:pt idx="1950">2</cx:pt>
          <cx:pt idx="1951">2</cx:pt>
          <cx:pt idx="1952">1</cx:pt>
          <cx:pt idx="1953">2</cx:pt>
          <cx:pt idx="1954">2</cx:pt>
          <cx:pt idx="1955">3</cx:pt>
          <cx:pt idx="1956">1</cx:pt>
          <cx:pt idx="1957">2</cx:pt>
          <cx:pt idx="1958">2</cx:pt>
          <cx:pt idx="1959">4</cx:pt>
          <cx:pt idx="1960">1</cx:pt>
          <cx:pt idx="1961">2</cx:pt>
          <cx:pt idx="1962">1</cx:pt>
          <cx:pt idx="1963">2</cx:pt>
          <cx:pt idx="1964">2</cx:pt>
          <cx:pt idx="1965">2</cx:pt>
          <cx:pt idx="1966">1</cx:pt>
          <cx:pt idx="1967">1</cx:pt>
          <cx:pt idx="1968">3</cx:pt>
          <cx:pt idx="1969">2</cx:pt>
          <cx:pt idx="1970">1</cx:pt>
          <cx:pt idx="1971">3</cx:pt>
          <cx:pt idx="1972">1</cx:pt>
          <cx:pt idx="1973">2</cx:pt>
          <cx:pt idx="1974">4</cx:pt>
          <cx:pt idx="1975">2</cx:pt>
          <cx:pt idx="1976">1</cx:pt>
          <cx:pt idx="1977">2</cx:pt>
          <cx:pt idx="1978">2</cx:pt>
          <cx:pt idx="1979">1</cx:pt>
          <cx:pt idx="1980">2</cx:pt>
          <cx:pt idx="1981">2</cx:pt>
          <cx:pt idx="1982">2</cx:pt>
          <cx:pt idx="1983">1</cx:pt>
          <cx:pt idx="1984">2</cx:pt>
          <cx:pt idx="1985">1</cx:pt>
          <cx:pt idx="1986">1</cx:pt>
          <cx:pt idx="1987">1</cx:pt>
          <cx:pt idx="1988">2</cx:pt>
          <cx:pt idx="1989">4</cx:pt>
          <cx:pt idx="1990">2</cx:pt>
          <cx:pt idx="1991">2</cx:pt>
          <cx:pt idx="1992">1</cx:pt>
          <cx:pt idx="1993">2</cx:pt>
          <cx:pt idx="1994">1</cx:pt>
          <cx:pt idx="1995">2</cx:pt>
          <cx:pt idx="1996">1</cx:pt>
          <cx:pt idx="1997">1</cx:pt>
          <cx:pt idx="1998">2</cx:pt>
          <cx:pt idx="1999">2</cx:pt>
          <cx:pt idx="2000">1</cx:pt>
          <cx:pt idx="2001">2</cx:pt>
          <cx:pt idx="2002">2</cx:pt>
          <cx:pt idx="2003">1</cx:pt>
          <cx:pt idx="2004">1</cx:pt>
          <cx:pt idx="2005">1</cx:pt>
          <cx:pt idx="2006">2</cx:pt>
          <cx:pt idx="2007">1</cx:pt>
          <cx:pt idx="2008">3</cx:pt>
          <cx:pt idx="2009">1</cx:pt>
          <cx:pt idx="2010">1</cx:pt>
          <cx:pt idx="2011">1</cx:pt>
          <cx:pt idx="2012">3</cx:pt>
          <cx:pt idx="2013">3</cx:pt>
          <cx:pt idx="2014">1</cx:pt>
          <cx:pt idx="2015">1</cx:pt>
          <cx:pt idx="2016">2</cx:pt>
          <cx:pt idx="2017">2</cx:pt>
          <cx:pt idx="2018">2</cx:pt>
          <cx:pt idx="2019">3</cx:pt>
          <cx:pt idx="2020">2</cx:pt>
          <cx:pt idx="2021">1</cx:pt>
          <cx:pt idx="2022">4</cx:pt>
          <cx:pt idx="2023">3</cx:pt>
          <cx:pt idx="2024">5</cx:pt>
          <cx:pt idx="2025">2</cx:pt>
          <cx:pt idx="2026">1</cx:pt>
          <cx:pt idx="2027">1</cx:pt>
          <cx:pt idx="2028">1</cx:pt>
          <cx:pt idx="2029">3</cx:pt>
          <cx:pt idx="2030">1</cx:pt>
          <cx:pt idx="2031">3</cx:pt>
          <cx:pt idx="2032">1</cx:pt>
          <cx:pt idx="2033">1</cx:pt>
          <cx:pt idx="2034">1</cx:pt>
          <cx:pt idx="2035">1</cx:pt>
          <cx:pt idx="2036">1</cx:pt>
          <cx:pt idx="2037">3</cx:pt>
          <cx:pt idx="2038">1</cx:pt>
          <cx:pt idx="2039">1</cx:pt>
          <cx:pt idx="2040">2</cx:pt>
          <cx:pt idx="2041">1</cx:pt>
          <cx:pt idx="2042">2</cx:pt>
          <cx:pt idx="2043">1</cx:pt>
          <cx:pt idx="2044">1</cx:pt>
          <cx:pt idx="2045">1</cx:pt>
          <cx:pt idx="2046">1</cx:pt>
          <cx:pt idx="2047">1</cx:pt>
          <cx:pt idx="2048">1</cx:pt>
          <cx:pt idx="2049">1</cx:pt>
          <cx:pt idx="2050">2</cx:pt>
          <cx:pt idx="2051">1</cx:pt>
          <cx:pt idx="2052">4</cx:pt>
          <cx:pt idx="2053">1</cx:pt>
          <cx:pt idx="2054">4</cx:pt>
          <cx:pt idx="2055">2</cx:pt>
          <cx:pt idx="2056">1</cx:pt>
          <cx:pt idx="2057">1</cx:pt>
          <cx:pt idx="2058">1</cx:pt>
          <cx:pt idx="2059">1</cx:pt>
          <cx:pt idx="2060">3</cx:pt>
          <cx:pt idx="2061">4</cx:pt>
          <cx:pt idx="2062">2</cx:pt>
          <cx:pt idx="2063">3</cx:pt>
          <cx:pt idx="2064">1</cx:pt>
          <cx:pt idx="2065">1</cx:pt>
          <cx:pt idx="2066">2</cx:pt>
          <cx:pt idx="2067">6</cx:pt>
          <cx:pt idx="2068">1</cx:pt>
          <cx:pt idx="2069">1</cx:pt>
          <cx:pt idx="2070">4</cx:pt>
          <cx:pt idx="2071">2</cx:pt>
          <cx:pt idx="2072">2</cx:pt>
          <cx:pt idx="2073">1</cx:pt>
          <cx:pt idx="2074">2</cx:pt>
          <cx:pt idx="2075">2</cx:pt>
          <cx:pt idx="2076">3</cx:pt>
          <cx:pt idx="2077">1</cx:pt>
          <cx:pt idx="2078">2</cx:pt>
          <cx:pt idx="2079">2</cx:pt>
          <cx:pt idx="2080">2</cx:pt>
          <cx:pt idx="2081">3</cx:pt>
          <cx:pt idx="2082">3</cx:pt>
          <cx:pt idx="2083">2</cx:pt>
          <cx:pt idx="2084">2</cx:pt>
          <cx:pt idx="2085">1</cx:pt>
          <cx:pt idx="2086">1</cx:pt>
          <cx:pt idx="2087">1</cx:pt>
          <cx:pt idx="2088">3</cx:pt>
          <cx:pt idx="2089">1</cx:pt>
          <cx:pt idx="2090">1</cx:pt>
          <cx:pt idx="2091">1</cx:pt>
          <cx:pt idx="2092">1</cx:pt>
          <cx:pt idx="2093">3</cx:pt>
          <cx:pt idx="2094">2</cx:pt>
          <cx:pt idx="2095">1</cx:pt>
          <cx:pt idx="2096">2</cx:pt>
          <cx:pt idx="2097">1</cx:pt>
          <cx:pt idx="2098">2</cx:pt>
          <cx:pt idx="2099">4</cx:pt>
          <cx:pt idx="2100">4</cx:pt>
          <cx:pt idx="2101">1</cx:pt>
          <cx:pt idx="2102">2</cx:pt>
          <cx:pt idx="2103">2</cx:pt>
          <cx:pt idx="2104">3</cx:pt>
          <cx:pt idx="2105">4</cx:pt>
          <cx:pt idx="2106">4</cx:pt>
          <cx:pt idx="2107">3</cx:pt>
          <cx:pt idx="2108">5</cx:pt>
          <cx:pt idx="2109">2</cx:pt>
          <cx:pt idx="2110">2</cx:pt>
          <cx:pt idx="2111">1</cx:pt>
          <cx:pt idx="2112">3</cx:pt>
          <cx:pt idx="2113">5</cx:pt>
          <cx:pt idx="2114">2</cx:pt>
          <cx:pt idx="2115">3</cx:pt>
          <cx:pt idx="2116">1</cx:pt>
          <cx:pt idx="2117">3</cx:pt>
          <cx:pt idx="2118">1</cx:pt>
          <cx:pt idx="2119">8</cx:pt>
          <cx:pt idx="2120">2</cx:pt>
          <cx:pt idx="2121">2</cx:pt>
          <cx:pt idx="2122">2</cx:pt>
          <cx:pt idx="2123">1</cx:pt>
          <cx:pt idx="2124">2</cx:pt>
          <cx:pt idx="2125">3</cx:pt>
          <cx:pt idx="2126">4</cx:pt>
          <cx:pt idx="2127">3</cx:pt>
          <cx:pt idx="2128">3</cx:pt>
          <cx:pt idx="2129">2</cx:pt>
          <cx:pt idx="2130">1</cx:pt>
          <cx:pt idx="2131">3</cx:pt>
          <cx:pt idx="2132">5</cx:pt>
          <cx:pt idx="2133">3</cx:pt>
          <cx:pt idx="2134">2</cx:pt>
          <cx:pt idx="2135">1</cx:pt>
          <cx:pt idx="2136">1</cx:pt>
          <cx:pt idx="2137">1</cx:pt>
          <cx:pt idx="2138">2</cx:pt>
          <cx:pt idx="2139">3</cx:pt>
          <cx:pt idx="2140">5</cx:pt>
          <cx:pt idx="2141">1</cx:pt>
          <cx:pt idx="2142">2</cx:pt>
          <cx:pt idx="2143">3</cx:pt>
          <cx:pt idx="2144">3</cx:pt>
          <cx:pt idx="2145">1</cx:pt>
          <cx:pt idx="2146">1</cx:pt>
          <cx:pt idx="2147">7</cx:pt>
          <cx:pt idx="2148">1</cx:pt>
          <cx:pt idx="2149">2</cx:pt>
          <cx:pt idx="2150">1</cx:pt>
          <cx:pt idx="2151">2</cx:pt>
          <cx:pt idx="2152">5</cx:pt>
          <cx:pt idx="2153">5</cx:pt>
          <cx:pt idx="2154">4</cx:pt>
          <cx:pt idx="2155">3</cx:pt>
          <cx:pt idx="2156">1</cx:pt>
          <cx:pt idx="2157">3</cx:pt>
          <cx:pt idx="2158">2</cx:pt>
          <cx:pt idx="2159">3</cx:pt>
          <cx:pt idx="2160">2</cx:pt>
          <cx:pt idx="2161">2</cx:pt>
          <cx:pt idx="2162">2</cx:pt>
          <cx:pt idx="2163">2</cx:pt>
          <cx:pt idx="2164">6</cx:pt>
          <cx:pt idx="2165">1</cx:pt>
          <cx:pt idx="2166">1</cx:pt>
          <cx:pt idx="2167">4</cx:pt>
          <cx:pt idx="2168">4</cx:pt>
          <cx:pt idx="2169">1</cx:pt>
          <cx:pt idx="2170">1</cx:pt>
          <cx:pt idx="2171">4</cx:pt>
          <cx:pt idx="2172">2</cx:pt>
          <cx:pt idx="2173">1</cx:pt>
          <cx:pt idx="2174">2</cx:pt>
          <cx:pt idx="2175">1</cx:pt>
          <cx:pt idx="2176">1</cx:pt>
          <cx:pt idx="2177">2</cx:pt>
          <cx:pt idx="2178">1</cx:pt>
          <cx:pt idx="2179">2</cx:pt>
          <cx:pt idx="2180">2</cx:pt>
          <cx:pt idx="2181">1</cx:pt>
          <cx:pt idx="2182">2</cx:pt>
          <cx:pt idx="2183">1</cx:pt>
          <cx:pt idx="2184">1</cx:pt>
          <cx:pt idx="2185">2</cx:pt>
          <cx:pt idx="2186">4</cx:pt>
          <cx:pt idx="2187">2</cx:pt>
          <cx:pt idx="2188">2</cx:pt>
          <cx:pt idx="2189">3</cx:pt>
          <cx:pt idx="2190">5</cx:pt>
          <cx:pt idx="2191">4</cx:pt>
          <cx:pt idx="2192">2</cx:pt>
          <cx:pt idx="2193">1</cx:pt>
          <cx:pt idx="2194">3</cx:pt>
          <cx:pt idx="2195">1</cx:pt>
          <cx:pt idx="2196">1</cx:pt>
          <cx:pt idx="2197">4</cx:pt>
          <cx:pt idx="2198">1</cx:pt>
          <cx:pt idx="2199">4</cx:pt>
          <cx:pt idx="2200">1</cx:pt>
          <cx:pt idx="2201">2</cx:pt>
          <cx:pt idx="2202">1</cx:pt>
          <cx:pt idx="2203">1</cx:pt>
          <cx:pt idx="2204">1</cx:pt>
          <cx:pt idx="2205">4</cx:pt>
          <cx:pt idx="2206">1</cx:pt>
          <cx:pt idx="2207">1</cx:pt>
          <cx:pt idx="2208">1</cx:pt>
          <cx:pt idx="2209">2</cx:pt>
          <cx:pt idx="2210">4</cx:pt>
          <cx:pt idx="2211">4</cx:pt>
          <cx:pt idx="2212">1</cx:pt>
          <cx:pt idx="2213">5</cx:pt>
          <cx:pt idx="2214">1</cx:pt>
          <cx:pt idx="2215">2</cx:pt>
          <cx:pt idx="2216">3</cx:pt>
          <cx:pt idx="2217">2</cx:pt>
          <cx:pt idx="2218">1</cx:pt>
          <cx:pt idx="2219">2</cx:pt>
          <cx:pt idx="2220">1</cx:pt>
          <cx:pt idx="2221">3</cx:pt>
          <cx:pt idx="2222">2</cx:pt>
          <cx:pt idx="2223">1</cx:pt>
          <cx:pt idx="2224">2</cx:pt>
          <cx:pt idx="2225">1</cx:pt>
          <cx:pt idx="2226">1</cx:pt>
          <cx:pt idx="2227">1</cx:pt>
          <cx:pt idx="2228">2</cx:pt>
          <cx:pt idx="2229">4</cx:pt>
          <cx:pt idx="2230">2</cx:pt>
          <cx:pt idx="2231">2</cx:pt>
          <cx:pt idx="2232">2</cx:pt>
          <cx:pt idx="2233">1</cx:pt>
          <cx:pt idx="2234">2</cx:pt>
          <cx:pt idx="2235">3</cx:pt>
          <cx:pt idx="2236">1</cx:pt>
          <cx:pt idx="2237">1</cx:pt>
          <cx:pt idx="2238">2</cx:pt>
          <cx:pt idx="2239">1</cx:pt>
          <cx:pt idx="2240">1</cx:pt>
          <cx:pt idx="2241">2</cx:pt>
          <cx:pt idx="2242">1</cx:pt>
          <cx:pt idx="2243">2</cx:pt>
          <cx:pt idx="2244">1</cx:pt>
          <cx:pt idx="2245">2</cx:pt>
          <cx:pt idx="2246">1</cx:pt>
          <cx:pt idx="2247">2</cx:pt>
          <cx:pt idx="2248">2</cx:pt>
          <cx:pt idx="2249">3</cx:pt>
          <cx:pt idx="2250">1</cx:pt>
          <cx:pt idx="2251">1</cx:pt>
          <cx:pt idx="2252">1</cx:pt>
          <cx:pt idx="2253">1</cx:pt>
          <cx:pt idx="2254">2</cx:pt>
          <cx:pt idx="2255">4</cx:pt>
          <cx:pt idx="2256">3</cx:pt>
          <cx:pt idx="2257">5</cx:pt>
          <cx:pt idx="2258">3</cx:pt>
          <cx:pt idx="2259">3</cx:pt>
          <cx:pt idx="2260">1</cx:pt>
          <cx:pt idx="2261">2</cx:pt>
          <cx:pt idx="2262">1</cx:pt>
          <cx:pt idx="2263">2</cx:pt>
          <cx:pt idx="2264">1</cx:pt>
          <cx:pt idx="2265">1</cx:pt>
          <cx:pt idx="2266">2</cx:pt>
          <cx:pt idx="2267">2</cx:pt>
          <cx:pt idx="2268">1</cx:pt>
          <cx:pt idx="2269">1</cx:pt>
          <cx:pt idx="2270">2</cx:pt>
          <cx:pt idx="2271">3</cx:pt>
          <cx:pt idx="2272">2</cx:pt>
          <cx:pt idx="2273">3</cx:pt>
          <cx:pt idx="2274">1</cx:pt>
          <cx:pt idx="2275">2</cx:pt>
          <cx:pt idx="2276">1</cx:pt>
          <cx:pt idx="2277">1</cx:pt>
          <cx:pt idx="2278">2</cx:pt>
          <cx:pt idx="2279">2</cx:pt>
          <cx:pt idx="2280">2</cx:pt>
          <cx:pt idx="2281">2</cx:pt>
          <cx:pt idx="2282">2</cx:pt>
          <cx:pt idx="2283">1</cx:pt>
          <cx:pt idx="2284">1</cx:pt>
          <cx:pt idx="2285">2</cx:pt>
          <cx:pt idx="2286">1</cx:pt>
          <cx:pt idx="2287">1</cx:pt>
          <cx:pt idx="2288">4</cx:pt>
          <cx:pt idx="2289">5</cx:pt>
          <cx:pt idx="2290">1</cx:pt>
          <cx:pt idx="2291">2</cx:pt>
          <cx:pt idx="2292">3</cx:pt>
          <cx:pt idx="2293">2</cx:pt>
          <cx:pt idx="2294">4</cx:pt>
          <cx:pt idx="2295">3</cx:pt>
          <cx:pt idx="2296">3</cx:pt>
          <cx:pt idx="2297">1</cx:pt>
          <cx:pt idx="2298">1</cx:pt>
          <cx:pt idx="2299">3</cx:pt>
          <cx:pt idx="2300">1</cx:pt>
          <cx:pt idx="2301">1</cx:pt>
          <cx:pt idx="2302">6</cx:pt>
          <cx:pt idx="2303">2</cx:pt>
          <cx:pt idx="2304">1</cx:pt>
          <cx:pt idx="2305">3</cx:pt>
          <cx:pt idx="2306">2</cx:pt>
          <cx:pt idx="2307">2</cx:pt>
          <cx:pt idx="2308">3</cx:pt>
          <cx:pt idx="2309">1</cx:pt>
          <cx:pt idx="2310">2</cx:pt>
          <cx:pt idx="2311">2</cx:pt>
          <cx:pt idx="2312">1</cx:pt>
          <cx:pt idx="2313">2</cx:pt>
          <cx:pt idx="2314">3</cx:pt>
          <cx:pt idx="2315">1</cx:pt>
          <cx:pt idx="2316">3</cx:pt>
          <cx:pt idx="2317">1</cx:pt>
          <cx:pt idx="2318">4</cx:pt>
          <cx:pt idx="2319">2</cx:pt>
          <cx:pt idx="2320">4</cx:pt>
          <cx:pt idx="2321">3</cx:pt>
          <cx:pt idx="2322">2</cx:pt>
          <cx:pt idx="2323">1</cx:pt>
          <cx:pt idx="2324">1</cx:pt>
          <cx:pt idx="2325">2</cx:pt>
          <cx:pt idx="2326">1</cx:pt>
          <cx:pt idx="2327">1</cx:pt>
          <cx:pt idx="2328">1</cx:pt>
          <cx:pt idx="2329">1</cx:pt>
          <cx:pt idx="2330">2</cx:pt>
          <cx:pt idx="2331">1</cx:pt>
          <cx:pt idx="2332">4</cx:pt>
          <cx:pt idx="2333">2</cx:pt>
          <cx:pt idx="2334">1</cx:pt>
          <cx:pt idx="2335">1</cx:pt>
          <cx:pt idx="2336">1</cx:pt>
          <cx:pt idx="2337">1</cx:pt>
          <cx:pt idx="2338">3</cx:pt>
          <cx:pt idx="2339">4</cx:pt>
          <cx:pt idx="2340">1</cx:pt>
          <cx:pt idx="2341">1</cx:pt>
          <cx:pt idx="2342">2</cx:pt>
          <cx:pt idx="2343">3</cx:pt>
          <cx:pt idx="2344">2</cx:pt>
          <cx:pt idx="2345">1</cx:pt>
          <cx:pt idx="2346">2</cx:pt>
          <cx:pt idx="2347">1</cx:pt>
          <cx:pt idx="2348">2</cx:pt>
          <cx:pt idx="2349">1</cx:pt>
          <cx:pt idx="2350">2</cx:pt>
          <cx:pt idx="2351">1</cx:pt>
          <cx:pt idx="2352">3</cx:pt>
          <cx:pt idx="2353">2</cx:pt>
          <cx:pt idx="2354">1</cx:pt>
          <cx:pt idx="2355">1</cx:pt>
          <cx:pt idx="2356">1</cx:pt>
          <cx:pt idx="2357">1</cx:pt>
          <cx:pt idx="2358">3</cx:pt>
          <cx:pt idx="2359">2</cx:pt>
          <cx:pt idx="2360">1</cx:pt>
          <cx:pt idx="2361">1</cx:pt>
          <cx:pt idx="2362">2</cx:pt>
          <cx:pt idx="2363">1</cx:pt>
          <cx:pt idx="2364">1</cx:pt>
          <cx:pt idx="2365">1</cx:pt>
          <cx:pt idx="2366">2</cx:pt>
          <cx:pt idx="2367">1</cx:pt>
          <cx:pt idx="2368">1</cx:pt>
          <cx:pt idx="2369">1</cx:pt>
          <cx:pt idx="2370">1</cx:pt>
          <cx:pt idx="2371">2</cx:pt>
          <cx:pt idx="2372">2</cx:pt>
          <cx:pt idx="2373">1</cx:pt>
          <cx:pt idx="2374">2</cx:pt>
          <cx:pt idx="2375">1</cx:pt>
          <cx:pt idx="2376">1</cx:pt>
          <cx:pt idx="2377">2</cx:pt>
          <cx:pt idx="2378">2</cx:pt>
          <cx:pt idx="2379">3</cx:pt>
          <cx:pt idx="2380">2</cx:pt>
          <cx:pt idx="2381">2</cx:pt>
          <cx:pt idx="2382">1</cx:pt>
          <cx:pt idx="2383">1</cx:pt>
          <cx:pt idx="2384">5</cx:pt>
          <cx:pt idx="2385">2</cx:pt>
          <cx:pt idx="2386">2</cx:pt>
          <cx:pt idx="2387">1</cx:pt>
          <cx:pt idx="2388">1</cx:pt>
          <cx:pt idx="2389">1</cx:pt>
          <cx:pt idx="2390">2</cx:pt>
          <cx:pt idx="2391">2</cx:pt>
          <cx:pt idx="2392">2</cx:pt>
          <cx:pt idx="2393">2</cx:pt>
          <cx:pt idx="2394">3</cx:pt>
          <cx:pt idx="2395">3</cx:pt>
          <cx:pt idx="2396">2</cx:pt>
          <cx:pt idx="2397">2</cx:pt>
          <cx:pt idx="2398">1</cx:pt>
          <cx:pt idx="2399">1</cx:pt>
          <cx:pt idx="2400">3</cx:pt>
          <cx:pt idx="2401">2</cx:pt>
          <cx:pt idx="2402">2</cx:pt>
          <cx:pt idx="2403">1</cx:pt>
          <cx:pt idx="2404">2</cx:pt>
          <cx:pt idx="2405">1</cx:pt>
          <cx:pt idx="2406">2</cx:pt>
          <cx:pt idx="2407">1</cx:pt>
          <cx:pt idx="2408">1</cx:pt>
          <cx:pt idx="2409">1</cx:pt>
          <cx:pt idx="2410">2</cx:pt>
          <cx:pt idx="2411">2</cx:pt>
          <cx:pt idx="2412">2</cx:pt>
          <cx:pt idx="2413">2</cx:pt>
          <cx:pt idx="2414">1</cx:pt>
          <cx:pt idx="2415">1</cx:pt>
          <cx:pt idx="2416">2</cx:pt>
          <cx:pt idx="2417">1</cx:pt>
          <cx:pt idx="2418">4</cx:pt>
          <cx:pt idx="2419">3</cx:pt>
          <cx:pt idx="2420">1</cx:pt>
          <cx:pt idx="2421">1</cx:pt>
          <cx:pt idx="2422">1</cx:pt>
          <cx:pt idx="2423">3</cx:pt>
          <cx:pt idx="2424">3</cx:pt>
          <cx:pt idx="2425">2</cx:pt>
          <cx:pt idx="2426">2</cx:pt>
          <cx:pt idx="2427">1</cx:pt>
          <cx:pt idx="2428">1</cx:pt>
          <cx:pt idx="2429">4</cx:pt>
          <cx:pt idx="2430">5</cx:pt>
          <cx:pt idx="2431">1</cx:pt>
          <cx:pt idx="2432">3</cx:pt>
          <cx:pt idx="2433">2</cx:pt>
          <cx:pt idx="2434">1</cx:pt>
          <cx:pt idx="2435">3</cx:pt>
          <cx:pt idx="2436">2</cx:pt>
          <cx:pt idx="2437">2</cx:pt>
          <cx:pt idx="2438">1</cx:pt>
          <cx:pt idx="2439">1</cx:pt>
          <cx:pt idx="2440">2</cx:pt>
          <cx:pt idx="2441">2</cx:pt>
          <cx:pt idx="2442">1</cx:pt>
          <cx:pt idx="2443">1</cx:pt>
          <cx:pt idx="2444">1</cx:pt>
          <cx:pt idx="2445">2</cx:pt>
          <cx:pt idx="2446">1</cx:pt>
          <cx:pt idx="2447">1</cx:pt>
          <cx:pt idx="2448">2</cx:pt>
          <cx:pt idx="2449">3</cx:pt>
          <cx:pt idx="2450">2</cx:pt>
          <cx:pt idx="2451">1</cx:pt>
          <cx:pt idx="2452">3</cx:pt>
          <cx:pt idx="2453">1</cx:pt>
          <cx:pt idx="2454">2</cx:pt>
          <cx:pt idx="2455">3</cx:pt>
          <cx:pt idx="2456">4</cx:pt>
          <cx:pt idx="2457">1</cx:pt>
          <cx:pt idx="2458">2</cx:pt>
          <cx:pt idx="2459">3</cx:pt>
          <cx:pt idx="2460">1</cx:pt>
          <cx:pt idx="2461">2</cx:pt>
          <cx:pt idx="2462">1</cx:pt>
          <cx:pt idx="2463">2</cx:pt>
          <cx:pt idx="2464">5</cx:pt>
          <cx:pt idx="2465">1</cx:pt>
          <cx:pt idx="2466">1</cx:pt>
          <cx:pt idx="2467">3</cx:pt>
          <cx:pt idx="2468">3</cx:pt>
          <cx:pt idx="2469">2</cx:pt>
          <cx:pt idx="2470">1</cx:pt>
          <cx:pt idx="2471">2</cx:pt>
          <cx:pt idx="2472">2</cx:pt>
          <cx:pt idx="2473">3</cx:pt>
          <cx:pt idx="2474">2</cx:pt>
          <cx:pt idx="2475">2</cx:pt>
          <cx:pt idx="2476">3</cx:pt>
          <cx:pt idx="2477">2</cx:pt>
          <cx:pt idx="2478">2</cx:pt>
          <cx:pt idx="2479">4</cx:pt>
          <cx:pt idx="2480">1</cx:pt>
          <cx:pt idx="2481">4</cx:pt>
          <cx:pt idx="2482">2</cx:pt>
          <cx:pt idx="2483">2</cx:pt>
          <cx:pt idx="2484">2</cx:pt>
          <cx:pt idx="2485">2</cx:pt>
          <cx:pt idx="2486">7</cx:pt>
          <cx:pt idx="2487">1</cx:pt>
          <cx:pt idx="2488">3</cx:pt>
          <cx:pt idx="2489">4</cx:pt>
          <cx:pt idx="2490">4</cx:pt>
          <cx:pt idx="2491">1</cx:pt>
          <cx:pt idx="2492">1</cx:pt>
          <cx:pt idx="2493">2</cx:pt>
          <cx:pt idx="2494">1</cx:pt>
          <cx:pt idx="2495">2</cx:pt>
          <cx:pt idx="2496">1</cx:pt>
          <cx:pt idx="2497">2</cx:pt>
          <cx:pt idx="2498">4</cx:pt>
          <cx:pt idx="2499">1</cx:pt>
          <cx:pt idx="2500">2</cx:pt>
          <cx:pt idx="2501">1</cx:pt>
          <cx:pt idx="2502">1</cx:pt>
          <cx:pt idx="2503">4</cx:pt>
          <cx:pt idx="2504">3</cx:pt>
          <cx:pt idx="2505">3</cx:pt>
          <cx:pt idx="2506">2</cx:pt>
          <cx:pt idx="2507">3</cx:pt>
          <cx:pt idx="2508">1</cx:pt>
          <cx:pt idx="2509">3</cx:pt>
          <cx:pt idx="2510">2</cx:pt>
          <cx:pt idx="2511">2</cx:pt>
          <cx:pt idx="2512">1</cx:pt>
          <cx:pt idx="2513">2</cx:pt>
          <cx:pt idx="2514">2</cx:pt>
          <cx:pt idx="2515">3</cx:pt>
          <cx:pt idx="2516">3</cx:pt>
          <cx:pt idx="2517">4</cx:pt>
          <cx:pt idx="2518">2</cx:pt>
          <cx:pt idx="2519">4</cx:pt>
          <cx:pt idx="2520">2</cx:pt>
          <cx:pt idx="2521">2</cx:pt>
          <cx:pt idx="2522">2</cx:pt>
          <cx:pt idx="2523">2</cx:pt>
          <cx:pt idx="2524">2</cx:pt>
          <cx:pt idx="2525">3</cx:pt>
          <cx:pt idx="2526">1</cx:pt>
          <cx:pt idx="2527">2</cx:pt>
          <cx:pt idx="2528">3</cx:pt>
          <cx:pt idx="2529">4</cx:pt>
          <cx:pt idx="2530">2</cx:pt>
          <cx:pt idx="2531">1</cx:pt>
          <cx:pt idx="2532">2</cx:pt>
          <cx:pt idx="2533">4</cx:pt>
          <cx:pt idx="2534">1</cx:pt>
          <cx:pt idx="2535">2</cx:pt>
          <cx:pt idx="2536">1</cx:pt>
          <cx:pt idx="2537">4</cx:pt>
          <cx:pt idx="2538">3</cx:pt>
          <cx:pt idx="2539">4</cx:pt>
          <cx:pt idx="2540">1</cx:pt>
          <cx:pt idx="2541">1</cx:pt>
          <cx:pt idx="2542">1</cx:pt>
          <cx:pt idx="2543">1</cx:pt>
          <cx:pt idx="2544">2</cx:pt>
          <cx:pt idx="2545">5</cx:pt>
          <cx:pt idx="2546">3</cx:pt>
          <cx:pt idx="2547">3</cx:pt>
          <cx:pt idx="2548">5</cx:pt>
          <cx:pt idx="2549">2</cx:pt>
          <cx:pt idx="2550">5</cx:pt>
          <cx:pt idx="2551">1</cx:pt>
          <cx:pt idx="2552">3</cx:pt>
          <cx:pt idx="2553">2</cx:pt>
          <cx:pt idx="2554">1</cx:pt>
          <cx:pt idx="2555">2</cx:pt>
          <cx:pt idx="2556">1</cx:pt>
          <cx:pt idx="2557">1</cx:pt>
          <cx:pt idx="2558">3</cx:pt>
          <cx:pt idx="2559">4</cx:pt>
          <cx:pt idx="2560">2</cx:pt>
          <cx:pt idx="2561">2</cx:pt>
          <cx:pt idx="2562">1</cx:pt>
          <cx:pt idx="2563">1</cx:pt>
          <cx:pt idx="2564">4</cx:pt>
          <cx:pt idx="2565">1</cx:pt>
          <cx:pt idx="2566">1</cx:pt>
          <cx:pt idx="2567">1</cx:pt>
          <cx:pt idx="2568">1</cx:pt>
          <cx:pt idx="2569">1</cx:pt>
          <cx:pt idx="2570">1</cx:pt>
          <cx:pt idx="2571">1</cx:pt>
          <cx:pt idx="2572">4</cx:pt>
          <cx:pt idx="2573">4</cx:pt>
          <cx:pt idx="2574">1</cx:pt>
          <cx:pt idx="2575">4</cx:pt>
          <cx:pt idx="2576">3</cx:pt>
          <cx:pt idx="2577">2</cx:pt>
          <cx:pt idx="2578">1</cx:pt>
          <cx:pt idx="2579">2</cx:pt>
          <cx:pt idx="2580">1</cx:pt>
          <cx:pt idx="2581">3</cx:pt>
          <cx:pt idx="2582">1</cx:pt>
          <cx:pt idx="2583">2</cx:pt>
          <cx:pt idx="2584">2</cx:pt>
          <cx:pt idx="2585">5</cx:pt>
          <cx:pt idx="2586">1</cx:pt>
          <cx:pt idx="2587">3</cx:pt>
          <cx:pt idx="2588">3</cx:pt>
          <cx:pt idx="2589">1</cx:pt>
          <cx:pt idx="2590">1</cx:pt>
          <cx:pt idx="2591">1</cx:pt>
          <cx:pt idx="2592">2</cx:pt>
          <cx:pt idx="2593">2</cx:pt>
          <cx:pt idx="2594">3</cx:pt>
          <cx:pt idx="2595">2</cx:pt>
          <cx:pt idx="2596">1</cx:pt>
          <cx:pt idx="2597">1</cx:pt>
          <cx:pt idx="2598">3</cx:pt>
          <cx:pt idx="2599">2</cx:pt>
          <cx:pt idx="2600">2</cx:pt>
          <cx:pt idx="2601">2</cx:pt>
          <cx:pt idx="2602">2</cx:pt>
          <cx:pt idx="2603">4</cx:pt>
          <cx:pt idx="2604">1</cx:pt>
          <cx:pt idx="2605">1</cx:pt>
          <cx:pt idx="2606">2</cx:pt>
          <cx:pt idx="2607">4</cx:pt>
          <cx:pt idx="2608">1</cx:pt>
          <cx:pt idx="2609">3</cx:pt>
          <cx:pt idx="2610">1</cx:pt>
          <cx:pt idx="2611">4</cx:pt>
          <cx:pt idx="2612">1</cx:pt>
          <cx:pt idx="2613">3</cx:pt>
          <cx:pt idx="2614">6</cx:pt>
          <cx:pt idx="2615">6</cx:pt>
          <cx:pt idx="2616">2</cx:pt>
          <cx:pt idx="2617">1</cx:pt>
          <cx:pt idx="2618">1</cx:pt>
          <cx:pt idx="2619">1</cx:pt>
          <cx:pt idx="2620">2</cx:pt>
          <cx:pt idx="2621">2</cx:pt>
          <cx:pt idx="2622">1</cx:pt>
          <cx:pt idx="2623">4</cx:pt>
          <cx:pt idx="2624">1</cx:pt>
          <cx:pt idx="2625">1</cx:pt>
          <cx:pt idx="2626">2</cx:pt>
          <cx:pt idx="2627">3</cx:pt>
          <cx:pt idx="2628">1</cx:pt>
          <cx:pt idx="2629">3</cx:pt>
          <cx:pt idx="2630">3</cx:pt>
          <cx:pt idx="2631">1</cx:pt>
          <cx:pt idx="2632">1</cx:pt>
          <cx:pt idx="2633">2</cx:pt>
          <cx:pt idx="2634">2</cx:pt>
          <cx:pt idx="2635">3</cx:pt>
          <cx:pt idx="2636">2</cx:pt>
          <cx:pt idx="2637">3</cx:pt>
          <cx:pt idx="2638">2</cx:pt>
          <cx:pt idx="2639">1</cx:pt>
          <cx:pt idx="2640">1</cx:pt>
          <cx:pt idx="2641">1</cx:pt>
          <cx:pt idx="2642">2</cx:pt>
          <cx:pt idx="2643">2</cx:pt>
          <cx:pt idx="2644">1</cx:pt>
          <cx:pt idx="2645">2</cx:pt>
          <cx:pt idx="2646">2</cx:pt>
          <cx:pt idx="2647">3</cx:pt>
          <cx:pt idx="2648">1</cx:pt>
          <cx:pt idx="2649">1</cx:pt>
          <cx:pt idx="2650">1</cx:pt>
          <cx:pt idx="2651">2</cx:pt>
          <cx:pt idx="2652">1</cx:pt>
          <cx:pt idx="2653">1</cx:pt>
          <cx:pt idx="2654">1</cx:pt>
          <cx:pt idx="2655">2</cx:pt>
          <cx:pt idx="2656">2</cx:pt>
          <cx:pt idx="2657">2</cx:pt>
          <cx:pt idx="2658">1</cx:pt>
          <cx:pt idx="2659">1</cx:pt>
          <cx:pt idx="2660">1</cx:pt>
          <cx:pt idx="2661">4</cx:pt>
          <cx:pt idx="2662">3</cx:pt>
          <cx:pt idx="2663">1</cx:pt>
          <cx:pt idx="2664">1</cx:pt>
          <cx:pt idx="2665">2</cx:pt>
          <cx:pt idx="2666">1</cx:pt>
          <cx:pt idx="2667">3</cx:pt>
          <cx:pt idx="2668">5</cx:pt>
          <cx:pt idx="2669">2</cx:pt>
          <cx:pt idx="2670">1</cx:pt>
          <cx:pt idx="2671">2</cx:pt>
          <cx:pt idx="2672">1</cx:pt>
          <cx:pt idx="2673">1</cx:pt>
          <cx:pt idx="2674">2</cx:pt>
          <cx:pt idx="2675">4</cx:pt>
          <cx:pt idx="2676">1</cx:pt>
          <cx:pt idx="2677">1</cx:pt>
          <cx:pt idx="2678">1</cx:pt>
          <cx:pt idx="2679">4</cx:pt>
          <cx:pt idx="2680">3</cx:pt>
          <cx:pt idx="2681">2</cx:pt>
          <cx:pt idx="2682">2</cx:pt>
          <cx:pt idx="2683">1</cx:pt>
          <cx:pt idx="2684">3</cx:pt>
          <cx:pt idx="2685">1</cx:pt>
          <cx:pt idx="2686">2</cx:pt>
          <cx:pt idx="2687">1</cx:pt>
          <cx:pt idx="2688">2</cx:pt>
          <cx:pt idx="2689">2</cx:pt>
          <cx:pt idx="2690">1</cx:pt>
          <cx:pt idx="2691">1</cx:pt>
          <cx:pt idx="2692">3</cx:pt>
          <cx:pt idx="2693">2</cx:pt>
          <cx:pt idx="2694">1</cx:pt>
          <cx:pt idx="2695">2</cx:pt>
          <cx:pt idx="2696">2</cx:pt>
          <cx:pt idx="2697">2</cx:pt>
          <cx:pt idx="2698">1</cx:pt>
          <cx:pt idx="2699">1</cx:pt>
          <cx:pt idx="2700">2</cx:pt>
          <cx:pt idx="2701">1</cx:pt>
          <cx:pt idx="2702">1</cx:pt>
          <cx:pt idx="2703">4</cx:pt>
          <cx:pt idx="2704">1</cx:pt>
          <cx:pt idx="2705">2</cx:pt>
          <cx:pt idx="2706">1</cx:pt>
          <cx:pt idx="2707">1</cx:pt>
          <cx:pt idx="2708">1</cx:pt>
          <cx:pt idx="2709">3</cx:pt>
          <cx:pt idx="2710">1</cx:pt>
          <cx:pt idx="2711">3</cx:pt>
          <cx:pt idx="2712">2</cx:pt>
          <cx:pt idx="2713">3</cx:pt>
          <cx:pt idx="2714">2</cx:pt>
          <cx:pt idx="2715">2</cx:pt>
          <cx:pt idx="2716">2</cx:pt>
          <cx:pt idx="2717">1</cx:pt>
          <cx:pt idx="2718">3</cx:pt>
          <cx:pt idx="2719">4</cx:pt>
          <cx:pt idx="2720">1</cx:pt>
          <cx:pt idx="2721">2</cx:pt>
          <cx:pt idx="2722">2</cx:pt>
          <cx:pt idx="2723">2</cx:pt>
          <cx:pt idx="2724">2</cx:pt>
          <cx:pt idx="2725">2</cx:pt>
          <cx:pt idx="2726">1</cx:pt>
          <cx:pt idx="2727">1</cx:pt>
          <cx:pt idx="2728">5</cx:pt>
          <cx:pt idx="2729">2</cx:pt>
          <cx:pt idx="2730">2</cx:pt>
          <cx:pt idx="2731">2</cx:pt>
          <cx:pt idx="2732">1</cx:pt>
          <cx:pt idx="2733">1</cx:pt>
          <cx:pt idx="2734">3</cx:pt>
          <cx:pt idx="2735">4</cx:pt>
          <cx:pt idx="2736">2</cx:pt>
          <cx:pt idx="2737">1</cx:pt>
          <cx:pt idx="2738">2</cx:pt>
          <cx:pt idx="2739">1</cx:pt>
          <cx:pt idx="2740">1</cx:pt>
          <cx:pt idx="2741">1</cx:pt>
          <cx:pt idx="2742">1</cx:pt>
          <cx:pt idx="2743">1</cx:pt>
          <cx:pt idx="2744">2</cx:pt>
          <cx:pt idx="2745">2</cx:pt>
          <cx:pt idx="2746">1</cx:pt>
          <cx:pt idx="2747">2</cx:pt>
          <cx:pt idx="2748">1</cx:pt>
          <cx:pt idx="2749">1</cx:pt>
          <cx:pt idx="2750">2</cx:pt>
          <cx:pt idx="2751">1</cx:pt>
          <cx:pt idx="2752">1</cx:pt>
          <cx:pt idx="2753">1</cx:pt>
          <cx:pt idx="2754">1</cx:pt>
          <cx:pt idx="2755">2</cx:pt>
          <cx:pt idx="2756">1</cx:pt>
          <cx:pt idx="2757">3</cx:pt>
          <cx:pt idx="2758">1</cx:pt>
          <cx:pt idx="2759">1</cx:pt>
          <cx:pt idx="2760">2</cx:pt>
          <cx:pt idx="2761">2</cx:pt>
          <cx:pt idx="2762">4</cx:pt>
          <cx:pt idx="2763">3</cx:pt>
          <cx:pt idx="2764">3</cx:pt>
          <cx:pt idx="2765">3</cx:pt>
          <cx:pt idx="2766">1</cx:pt>
          <cx:pt idx="2767">2</cx:pt>
          <cx:pt idx="2768">1</cx:pt>
          <cx:pt idx="2769">4</cx:pt>
          <cx:pt idx="2770">1</cx:pt>
          <cx:pt idx="2771">1</cx:pt>
          <cx:pt idx="2772">2</cx:pt>
          <cx:pt idx="2773">1</cx:pt>
          <cx:pt idx="2774">2</cx:pt>
          <cx:pt idx="2775">1</cx:pt>
          <cx:pt idx="2776">2</cx:pt>
          <cx:pt idx="2777">1</cx:pt>
          <cx:pt idx="2778">2</cx:pt>
          <cx:pt idx="2779">1</cx:pt>
          <cx:pt idx="2780">2</cx:pt>
          <cx:pt idx="2781">1</cx:pt>
          <cx:pt idx="2782">2</cx:pt>
          <cx:pt idx="2783">2</cx:pt>
          <cx:pt idx="2784">1</cx:pt>
          <cx:pt idx="2785">2</cx:pt>
          <cx:pt idx="2786">1</cx:pt>
          <cx:pt idx="2787">1</cx:pt>
          <cx:pt idx="2788">1</cx:pt>
          <cx:pt idx="2789">1</cx:pt>
          <cx:pt idx="2790">1</cx:pt>
          <cx:pt idx="2791">1</cx:pt>
          <cx:pt idx="2792">2</cx:pt>
          <cx:pt idx="2793">2</cx:pt>
          <cx:pt idx="2794">2</cx:pt>
          <cx:pt idx="2795">6</cx:pt>
          <cx:pt idx="2796">2</cx:pt>
          <cx:pt idx="2797">1</cx:pt>
          <cx:pt idx="2798">5</cx:pt>
          <cx:pt idx="2799">3</cx:pt>
          <cx:pt idx="2800">1</cx:pt>
          <cx:pt idx="2801">2</cx:pt>
          <cx:pt idx="2802">3</cx:pt>
          <cx:pt idx="2803">2</cx:pt>
          <cx:pt idx="2804">2</cx:pt>
          <cx:pt idx="2805">2</cx:pt>
          <cx:pt idx="2806">2</cx:pt>
          <cx:pt idx="2807">4</cx:pt>
          <cx:pt idx="2808">1</cx:pt>
          <cx:pt idx="2809">1</cx:pt>
          <cx:pt idx="2810">1</cx:pt>
          <cx:pt idx="2811">1</cx:pt>
          <cx:pt idx="2812">2</cx:pt>
          <cx:pt idx="2813">2</cx:pt>
          <cx:pt idx="2814">1</cx:pt>
          <cx:pt idx="2815">1</cx:pt>
          <cx:pt idx="2816">4</cx:pt>
          <cx:pt idx="2817">5</cx:pt>
          <cx:pt idx="2818">3</cx:pt>
          <cx:pt idx="2819">1</cx:pt>
          <cx:pt idx="2820">1</cx:pt>
          <cx:pt idx="2821">1</cx:pt>
          <cx:pt idx="2822">4</cx:pt>
          <cx:pt idx="2823">2</cx:pt>
          <cx:pt idx="2824">1</cx:pt>
          <cx:pt idx="2825">1</cx:pt>
          <cx:pt idx="2826">1</cx:pt>
          <cx:pt idx="2827">2</cx:pt>
          <cx:pt idx="2828">3</cx:pt>
          <cx:pt idx="2829">2</cx:pt>
          <cx:pt idx="2830">3</cx:pt>
          <cx:pt idx="2831">2</cx:pt>
          <cx:pt idx="2832">5</cx:pt>
          <cx:pt idx="2833">3</cx:pt>
          <cx:pt idx="2834">2</cx:pt>
          <cx:pt idx="2835">1</cx:pt>
          <cx:pt idx="2836">2</cx:pt>
          <cx:pt idx="2837">4</cx:pt>
          <cx:pt idx="2838">3</cx:pt>
          <cx:pt idx="2839">1</cx:pt>
          <cx:pt idx="2840">1</cx:pt>
          <cx:pt idx="2841">3</cx:pt>
          <cx:pt idx="2842">1</cx:pt>
          <cx:pt idx="2843">3</cx:pt>
          <cx:pt idx="2844">2</cx:pt>
          <cx:pt idx="2845">2</cx:pt>
          <cx:pt idx="2846">2</cx:pt>
          <cx:pt idx="2847">2</cx:pt>
          <cx:pt idx="2848">2</cx:pt>
          <cx:pt idx="2849">2</cx:pt>
          <cx:pt idx="2850">1</cx:pt>
          <cx:pt idx="2851">1</cx:pt>
          <cx:pt idx="2852">1</cx:pt>
          <cx:pt idx="2853">1</cx:pt>
          <cx:pt idx="2854">2</cx:pt>
          <cx:pt idx="2855">3</cx:pt>
          <cx:pt idx="2856">2</cx:pt>
          <cx:pt idx="2857">3</cx:pt>
          <cx:pt idx="2858">1</cx:pt>
          <cx:pt idx="2859">1</cx:pt>
          <cx:pt idx="2860">2</cx:pt>
          <cx:pt idx="2861">2</cx:pt>
          <cx:pt idx="2862">2</cx:pt>
          <cx:pt idx="2863">1</cx:pt>
          <cx:pt idx="2864">1</cx:pt>
          <cx:pt idx="2865">2</cx:pt>
          <cx:pt idx="2866">1</cx:pt>
          <cx:pt idx="2867">2</cx:pt>
          <cx:pt idx="2868">3</cx:pt>
          <cx:pt idx="2869">1</cx:pt>
          <cx:pt idx="2870">4</cx:pt>
          <cx:pt idx="2871">3</cx:pt>
          <cx:pt idx="2872">1</cx:pt>
          <cx:pt idx="2873">3</cx:pt>
          <cx:pt idx="2874">2</cx:pt>
          <cx:pt idx="2875">4</cx:pt>
          <cx:pt idx="2876">1</cx:pt>
          <cx:pt idx="2877">3</cx:pt>
          <cx:pt idx="2878">1</cx:pt>
          <cx:pt idx="2879">2</cx:pt>
          <cx:pt idx="2880">3</cx:pt>
          <cx:pt idx="2881">1</cx:pt>
          <cx:pt idx="2882">2</cx:pt>
          <cx:pt idx="2883">1</cx:pt>
          <cx:pt idx="2884">2</cx:pt>
          <cx:pt idx="2885">6</cx:pt>
          <cx:pt idx="2886">1</cx:pt>
          <cx:pt idx="2887">3</cx:pt>
          <cx:pt idx="2888">2</cx:pt>
          <cx:pt idx="2889">2</cx:pt>
          <cx:pt idx="2890">3</cx:pt>
          <cx:pt idx="2891">1</cx:pt>
          <cx:pt idx="2892">2</cx:pt>
          <cx:pt idx="2893">1</cx:pt>
          <cx:pt idx="2894">2</cx:pt>
          <cx:pt idx="2895">3</cx:pt>
          <cx:pt idx="2896">2</cx:pt>
          <cx:pt idx="2897">1</cx:pt>
          <cx:pt idx="2898">1</cx:pt>
          <cx:pt idx="2899">1</cx:pt>
          <cx:pt idx="2900">2</cx:pt>
          <cx:pt idx="2901">2</cx:pt>
          <cx:pt idx="2902">1</cx:pt>
          <cx:pt idx="2903">2</cx:pt>
          <cx:pt idx="2904">2</cx:pt>
          <cx:pt idx="2905">2</cx:pt>
          <cx:pt idx="2906">2</cx:pt>
          <cx:pt idx="2907">2</cx:pt>
          <cx:pt idx="2908">1</cx:pt>
          <cx:pt idx="2909">1</cx:pt>
          <cx:pt idx="2910">1</cx:pt>
          <cx:pt idx="2911">1</cx:pt>
          <cx:pt idx="2912">7</cx:pt>
          <cx:pt idx="2913">1</cx:pt>
          <cx:pt idx="2914">5</cx:pt>
          <cx:pt idx="2915">1</cx:pt>
          <cx:pt idx="2916">1</cx:pt>
          <cx:pt idx="2917">4</cx:pt>
          <cx:pt idx="2918">3</cx:pt>
          <cx:pt idx="2919">1</cx:pt>
          <cx:pt idx="2920">1</cx:pt>
          <cx:pt idx="2921">4</cx:pt>
          <cx:pt idx="2922">1</cx:pt>
          <cx:pt idx="2923">4</cx:pt>
          <cx:pt idx="2924">1</cx:pt>
          <cx:pt idx="2925">1</cx:pt>
          <cx:pt idx="2926">2</cx:pt>
          <cx:pt idx="2927">1</cx:pt>
          <cx:pt idx="2928">3</cx:pt>
          <cx:pt idx="2929">2</cx:pt>
          <cx:pt idx="2930">2</cx:pt>
          <cx:pt idx="2931">2</cx:pt>
          <cx:pt idx="2932">3</cx:pt>
          <cx:pt idx="2933">1</cx:pt>
          <cx:pt idx="2934">1</cx:pt>
          <cx:pt idx="2935">3</cx:pt>
          <cx:pt idx="2936">3</cx:pt>
          <cx:pt idx="2937">2</cx:pt>
          <cx:pt idx="2938">2</cx:pt>
          <cx:pt idx="2939">1</cx:pt>
          <cx:pt idx="2940">2</cx:pt>
          <cx:pt idx="2941">1</cx:pt>
          <cx:pt idx="2942">2</cx:pt>
          <cx:pt idx="2943">2</cx:pt>
          <cx:pt idx="2944">1</cx:pt>
          <cx:pt idx="2945">1</cx:pt>
          <cx:pt idx="2946">1</cx:pt>
          <cx:pt idx="2947">1</cx:pt>
          <cx:pt idx="2948">2</cx:pt>
          <cx:pt idx="2949">3</cx:pt>
          <cx:pt idx="2950">2</cx:pt>
          <cx:pt idx="2951">1</cx:pt>
          <cx:pt idx="2952">2</cx:pt>
          <cx:pt idx="2953">1</cx:pt>
          <cx:pt idx="2954">4</cx:pt>
          <cx:pt idx="2955">2</cx:pt>
          <cx:pt idx="2956">4</cx:pt>
          <cx:pt idx="2957">3</cx:pt>
          <cx:pt idx="2958">1</cx:pt>
          <cx:pt idx="2959">1</cx:pt>
          <cx:pt idx="2960">4</cx:pt>
          <cx:pt idx="2961">1</cx:pt>
          <cx:pt idx="2962">2</cx:pt>
          <cx:pt idx="2963">1</cx:pt>
          <cx:pt idx="2964">2</cx:pt>
          <cx:pt idx="2965">4</cx:pt>
          <cx:pt idx="2966">1</cx:pt>
          <cx:pt idx="2967">1</cx:pt>
          <cx:pt idx="2968">2</cx:pt>
          <cx:pt idx="2969">6</cx:pt>
          <cx:pt idx="2970">1</cx:pt>
          <cx:pt idx="2971">1</cx:pt>
          <cx:pt idx="2972">2</cx:pt>
          <cx:pt idx="2973">2</cx:pt>
          <cx:pt idx="2974">1</cx:pt>
          <cx:pt idx="2975">1</cx:pt>
          <cx:pt idx="2976">4</cx:pt>
          <cx:pt idx="2977">2</cx:pt>
          <cx:pt idx="2978">1</cx:pt>
          <cx:pt idx="2979">1</cx:pt>
          <cx:pt idx="2980">4</cx:pt>
          <cx:pt idx="2981">1</cx:pt>
          <cx:pt idx="2982">2</cx:pt>
          <cx:pt idx="2983">1</cx:pt>
          <cx:pt idx="2984">1</cx:pt>
          <cx:pt idx="2985">5</cx:pt>
          <cx:pt idx="2986">4</cx:pt>
          <cx:pt idx="2987">1</cx:pt>
          <cx:pt idx="2988">2</cx:pt>
          <cx:pt idx="2989">2</cx:pt>
          <cx:pt idx="2990">2</cx:pt>
          <cx:pt idx="2991">1</cx:pt>
          <cx:pt idx="2992">5</cx:pt>
          <cx:pt idx="2993">3</cx:pt>
          <cx:pt idx="2994">2</cx:pt>
          <cx:pt idx="2995">3</cx:pt>
          <cx:pt idx="2996">2</cx:pt>
          <cx:pt idx="2997">2</cx:pt>
          <cx:pt idx="2998">3</cx:pt>
          <cx:pt idx="2999">1</cx:pt>
          <cx:pt idx="3000">2</cx:pt>
          <cx:pt idx="3001">2</cx:pt>
          <cx:pt idx="3002">5</cx:pt>
          <cx:pt idx="3003">1</cx:pt>
          <cx:pt idx="3004">2</cx:pt>
          <cx:pt idx="3005">3</cx:pt>
          <cx:pt idx="3006">2</cx:pt>
          <cx:pt idx="3007">1</cx:pt>
          <cx:pt idx="3008">1</cx:pt>
          <cx:pt idx="3009">3</cx:pt>
          <cx:pt idx="3010">1</cx:pt>
          <cx:pt idx="3011">1</cx:pt>
          <cx:pt idx="3012">1</cx:pt>
          <cx:pt idx="3013">1</cx:pt>
          <cx:pt idx="3014">3</cx:pt>
          <cx:pt idx="3015">1</cx:pt>
          <cx:pt idx="3016">2</cx:pt>
          <cx:pt idx="3017">1</cx:pt>
          <cx:pt idx="3018">3</cx:pt>
          <cx:pt idx="3019">3</cx:pt>
          <cx:pt idx="3020">2</cx:pt>
          <cx:pt idx="3021">2</cx:pt>
          <cx:pt idx="3022">4</cx:pt>
          <cx:pt idx="3023">2</cx:pt>
          <cx:pt idx="3024">1</cx:pt>
          <cx:pt idx="3025">1</cx:pt>
          <cx:pt idx="3026">1</cx:pt>
          <cx:pt idx="3027">3</cx:pt>
          <cx:pt idx="3028">5</cx:pt>
          <cx:pt idx="3029">2</cx:pt>
          <cx:pt idx="3030">1</cx:pt>
          <cx:pt idx="3031">3</cx:pt>
          <cx:pt idx="3032">1</cx:pt>
          <cx:pt idx="3033">1</cx:pt>
          <cx:pt idx="3034">2</cx:pt>
          <cx:pt idx="3035">3</cx:pt>
          <cx:pt idx="3036">1</cx:pt>
          <cx:pt idx="3037">1</cx:pt>
          <cx:pt idx="3038">1</cx:pt>
          <cx:pt idx="3039">1</cx:pt>
          <cx:pt idx="3040">1</cx:pt>
          <cx:pt idx="3041">1</cx:pt>
          <cx:pt idx="3042">1</cx:pt>
          <cx:pt idx="3043">1</cx:pt>
          <cx:pt idx="3044">2</cx:pt>
          <cx:pt idx="3045">3</cx:pt>
          <cx:pt idx="3046">4</cx:pt>
          <cx:pt idx="3047">1</cx:pt>
          <cx:pt idx="3048">3</cx:pt>
          <cx:pt idx="3049">4</cx:pt>
          <cx:pt idx="3050">3</cx:pt>
          <cx:pt idx="3051">2</cx:pt>
          <cx:pt idx="3052">3</cx:pt>
          <cx:pt idx="3053">2</cx:pt>
          <cx:pt idx="3054">1</cx:pt>
          <cx:pt idx="3055">1</cx:pt>
          <cx:pt idx="3056">2</cx:pt>
          <cx:pt idx="3057">1</cx:pt>
          <cx:pt idx="3058">1</cx:pt>
          <cx:pt idx="3059">2</cx:pt>
          <cx:pt idx="3060">1</cx:pt>
          <cx:pt idx="3061">1</cx:pt>
          <cx:pt idx="3062">1</cx:pt>
          <cx:pt idx="3063">1</cx:pt>
          <cx:pt idx="3064">1</cx:pt>
          <cx:pt idx="3065">2</cx:pt>
          <cx:pt idx="3066">2</cx:pt>
          <cx:pt idx="3067">1</cx:pt>
          <cx:pt idx="3068">2</cx:pt>
          <cx:pt idx="3069">3</cx:pt>
          <cx:pt idx="3070">1</cx:pt>
          <cx:pt idx="3071">1</cx:pt>
          <cx:pt idx="3072">3</cx:pt>
          <cx:pt idx="3073">4</cx:pt>
          <cx:pt idx="3074">2</cx:pt>
          <cx:pt idx="3075">2</cx:pt>
          <cx:pt idx="3076">4</cx:pt>
          <cx:pt idx="3077">4</cx:pt>
          <cx:pt idx="3078">1</cx:pt>
          <cx:pt idx="3079">2</cx:pt>
          <cx:pt idx="3080">2</cx:pt>
          <cx:pt idx="3081">2</cx:pt>
          <cx:pt idx="3082">5</cx:pt>
          <cx:pt idx="3083">2</cx:pt>
          <cx:pt idx="3084">3</cx:pt>
          <cx:pt idx="3085">2</cx:pt>
          <cx:pt idx="3086">3</cx:pt>
          <cx:pt idx="3087">3</cx:pt>
          <cx:pt idx="3088">1</cx:pt>
          <cx:pt idx="3089">1</cx:pt>
          <cx:pt idx="3090">2</cx:pt>
          <cx:pt idx="3091">1</cx:pt>
          <cx:pt idx="3092">1</cx:pt>
          <cx:pt idx="3093">2</cx:pt>
          <cx:pt idx="3094">1</cx:pt>
          <cx:pt idx="3095">2</cx:pt>
          <cx:pt idx="3096">1</cx:pt>
          <cx:pt idx="3097">1</cx:pt>
          <cx:pt idx="3098">2</cx:pt>
          <cx:pt idx="3099">1</cx:pt>
          <cx:pt idx="3100">1</cx:pt>
          <cx:pt idx="3101">2</cx:pt>
          <cx:pt idx="3102">3</cx:pt>
          <cx:pt idx="3103">1</cx:pt>
          <cx:pt idx="3104">3</cx:pt>
          <cx:pt idx="3105">3</cx:pt>
          <cx:pt idx="3106">1</cx:pt>
          <cx:pt idx="3107">2</cx:pt>
          <cx:pt idx="3108">2</cx:pt>
          <cx:pt idx="3109">3</cx:pt>
          <cx:pt idx="3110">1</cx:pt>
          <cx:pt idx="3111">3</cx:pt>
          <cx:pt idx="3112">1</cx:pt>
          <cx:pt idx="3113">1</cx:pt>
          <cx:pt idx="3114">2</cx:pt>
          <cx:pt idx="3115">1</cx:pt>
          <cx:pt idx="3116">2</cx:pt>
          <cx:pt idx="3117">1</cx:pt>
          <cx:pt idx="3118">1</cx:pt>
          <cx:pt idx="3119">2</cx:pt>
          <cx:pt idx="3120">2</cx:pt>
          <cx:pt idx="3121">4</cx:pt>
          <cx:pt idx="3122">3</cx:pt>
          <cx:pt idx="3123">1</cx:pt>
          <cx:pt idx="3124">2</cx:pt>
          <cx:pt idx="3125">3</cx:pt>
          <cx:pt idx="3126">1</cx:pt>
          <cx:pt idx="3127">1</cx:pt>
          <cx:pt idx="3128">2</cx:pt>
          <cx:pt idx="3129">2</cx:pt>
          <cx:pt idx="3130">1</cx:pt>
          <cx:pt idx="3131">1</cx:pt>
          <cx:pt idx="3132">4</cx:pt>
          <cx:pt idx="3133">1</cx:pt>
          <cx:pt idx="3134">2</cx:pt>
          <cx:pt idx="3135">1</cx:pt>
          <cx:pt idx="3136">3</cx:pt>
          <cx:pt idx="3137">1</cx:pt>
          <cx:pt idx="3138">5</cx:pt>
          <cx:pt idx="3139">1</cx:pt>
          <cx:pt idx="3140">2</cx:pt>
          <cx:pt idx="3141">1</cx:pt>
          <cx:pt idx="3142">1</cx:pt>
          <cx:pt idx="3143">2</cx:pt>
          <cx:pt idx="3144">1</cx:pt>
          <cx:pt idx="3145">1</cx:pt>
          <cx:pt idx="3146">3</cx:pt>
          <cx:pt idx="3147">2</cx:pt>
          <cx:pt idx="3148">2</cx:pt>
          <cx:pt idx="3149">1</cx:pt>
          <cx:pt idx="3150">2</cx:pt>
          <cx:pt idx="3151">1</cx:pt>
          <cx:pt idx="3152">1</cx:pt>
          <cx:pt idx="3153">3</cx:pt>
          <cx:pt idx="3154">1</cx:pt>
          <cx:pt idx="3155">1</cx:pt>
          <cx:pt idx="3156">4</cx:pt>
          <cx:pt idx="3157">2</cx:pt>
          <cx:pt idx="3158">1</cx:pt>
          <cx:pt idx="3159">1</cx:pt>
          <cx:pt idx="3160">1</cx:pt>
          <cx:pt idx="3161">1</cx:pt>
          <cx:pt idx="3162">2</cx:pt>
          <cx:pt idx="3163">4</cx:pt>
          <cx:pt idx="3164">2</cx:pt>
          <cx:pt idx="3165">4</cx:pt>
          <cx:pt idx="3166">1</cx:pt>
          <cx:pt idx="3167">1</cx:pt>
          <cx:pt idx="3168">1</cx:pt>
          <cx:pt idx="3169">2</cx:pt>
          <cx:pt idx="3170">1</cx:pt>
          <cx:pt idx="3171">1</cx:pt>
          <cx:pt idx="3172">3</cx:pt>
          <cx:pt idx="3173">3</cx:pt>
          <cx:pt idx="3174">6</cx:pt>
          <cx:pt idx="3175">1</cx:pt>
          <cx:pt idx="3176">2</cx:pt>
          <cx:pt idx="3177">2</cx:pt>
          <cx:pt idx="3178">3</cx:pt>
          <cx:pt idx="3179">1</cx:pt>
          <cx:pt idx="3180">1</cx:pt>
          <cx:pt idx="3181">1</cx:pt>
          <cx:pt idx="3182">1</cx:pt>
          <cx:pt idx="3183">1</cx:pt>
          <cx:pt idx="3184">1</cx:pt>
          <cx:pt idx="3185">4</cx:pt>
          <cx:pt idx="3186">3</cx:pt>
          <cx:pt idx="3187">2</cx:pt>
          <cx:pt idx="3188">1</cx:pt>
          <cx:pt idx="3189">1</cx:pt>
          <cx:pt idx="3190">4</cx:pt>
          <cx:pt idx="3191">1</cx:pt>
          <cx:pt idx="3192">1</cx:pt>
          <cx:pt idx="3193">3</cx:pt>
          <cx:pt idx="3194">1</cx:pt>
          <cx:pt idx="3195">4</cx:pt>
          <cx:pt idx="3196">2</cx:pt>
          <cx:pt idx="3197">1</cx:pt>
          <cx:pt idx="3198">1</cx:pt>
          <cx:pt idx="3199">2</cx:pt>
          <cx:pt idx="3200">2</cx:pt>
          <cx:pt idx="3201">3</cx:pt>
          <cx:pt idx="3202">1</cx:pt>
          <cx:pt idx="3203">2</cx:pt>
          <cx:pt idx="3204">1</cx:pt>
          <cx:pt idx="3205">1</cx:pt>
          <cx:pt idx="3206">1</cx:pt>
          <cx:pt idx="3207">2</cx:pt>
          <cx:pt idx="3208">1</cx:pt>
          <cx:pt idx="3209">1</cx:pt>
          <cx:pt idx="3210">3</cx:pt>
          <cx:pt idx="3211">2</cx:pt>
          <cx:pt idx="3212">1</cx:pt>
          <cx:pt idx="3213">2</cx:pt>
          <cx:pt idx="3214">2</cx:pt>
          <cx:pt idx="3215">3</cx:pt>
          <cx:pt idx="3216">2</cx:pt>
          <cx:pt idx="3217">2</cx:pt>
          <cx:pt idx="3218">2</cx:pt>
          <cx:pt idx="3219">2</cx:pt>
          <cx:pt idx="3220">1</cx:pt>
          <cx:pt idx="3221">2</cx:pt>
          <cx:pt idx="3222">1</cx:pt>
          <cx:pt idx="3223">4</cx:pt>
          <cx:pt idx="3224">3</cx:pt>
          <cx:pt idx="3225">1</cx:pt>
          <cx:pt idx="3226">1</cx:pt>
          <cx:pt idx="3227">2</cx:pt>
          <cx:pt idx="3228">1</cx:pt>
          <cx:pt idx="3229">3</cx:pt>
          <cx:pt idx="3230">2</cx:pt>
          <cx:pt idx="3231">1</cx:pt>
          <cx:pt idx="3232">3</cx:pt>
          <cx:pt idx="3233">1</cx:pt>
          <cx:pt idx="3234">3</cx:pt>
          <cx:pt idx="3235">3</cx:pt>
          <cx:pt idx="3236">1</cx:pt>
          <cx:pt idx="3237">1</cx:pt>
          <cx:pt idx="3238">3</cx:pt>
          <cx:pt idx="3239">5</cx:pt>
          <cx:pt idx="3240">1</cx:pt>
          <cx:pt idx="3241">1</cx:pt>
          <cx:pt idx="3242">2</cx:pt>
          <cx:pt idx="3243">3</cx:pt>
          <cx:pt idx="3244">5</cx:pt>
          <cx:pt idx="3245">2</cx:pt>
          <cx:pt idx="3246">4</cx:pt>
          <cx:pt idx="3247">2</cx:pt>
          <cx:pt idx="3248">1</cx:pt>
          <cx:pt idx="3249">1</cx:pt>
          <cx:pt idx="3250">1</cx:pt>
          <cx:pt idx="3251">2</cx:pt>
          <cx:pt idx="3252">1</cx:pt>
          <cx:pt idx="3253">1</cx:pt>
          <cx:pt idx="3254">5</cx:pt>
          <cx:pt idx="3255">3</cx:pt>
          <cx:pt idx="3256">1</cx:pt>
          <cx:pt idx="3257">1</cx:pt>
          <cx:pt idx="3258">5</cx:pt>
          <cx:pt idx="3259">1</cx:pt>
          <cx:pt idx="3260">1</cx:pt>
          <cx:pt idx="3261">4</cx:pt>
          <cx:pt idx="3262">2</cx:pt>
          <cx:pt idx="3263">1</cx:pt>
          <cx:pt idx="3264">3</cx:pt>
          <cx:pt idx="3265">2</cx:pt>
          <cx:pt idx="3266">1</cx:pt>
          <cx:pt idx="3267">2</cx:pt>
          <cx:pt idx="3268">2</cx:pt>
          <cx:pt idx="3269">3</cx:pt>
          <cx:pt idx="3270">1</cx:pt>
          <cx:pt idx="3271">1</cx:pt>
          <cx:pt idx="3272">2</cx:pt>
          <cx:pt idx="3273">1</cx:pt>
          <cx:pt idx="3274">6</cx:pt>
          <cx:pt idx="3275">1</cx:pt>
          <cx:pt idx="3276">3</cx:pt>
          <cx:pt idx="3277">2</cx:pt>
          <cx:pt idx="3278">2</cx:pt>
          <cx:pt idx="3279">2</cx:pt>
          <cx:pt idx="3280">1</cx:pt>
          <cx:pt idx="3281">1</cx:pt>
          <cx:pt idx="3282">1</cx:pt>
          <cx:pt idx="3283">4</cx:pt>
          <cx:pt idx="3284">2</cx:pt>
          <cx:pt idx="3285">1</cx:pt>
          <cx:pt idx="3286">1</cx:pt>
          <cx:pt idx="3287">2</cx:pt>
          <cx:pt idx="3288">2</cx:pt>
          <cx:pt idx="3289">1</cx:pt>
          <cx:pt idx="3290">1</cx:pt>
          <cx:pt idx="3291">1</cx:pt>
          <cx:pt idx="3292">1</cx:pt>
          <cx:pt idx="3293">1</cx:pt>
          <cx:pt idx="3294">1</cx:pt>
          <cx:pt idx="3295">1</cx:pt>
          <cx:pt idx="3296">1</cx:pt>
          <cx:pt idx="3297">1</cx:pt>
          <cx:pt idx="3298">2</cx:pt>
          <cx:pt idx="3299">2</cx:pt>
          <cx:pt idx="3300">1</cx:pt>
          <cx:pt idx="3301">1</cx:pt>
          <cx:pt idx="3302">2</cx:pt>
          <cx:pt idx="3303">1</cx:pt>
          <cx:pt idx="3304">1</cx:pt>
          <cx:pt idx="3305">4</cx:pt>
          <cx:pt idx="3306">3</cx:pt>
          <cx:pt idx="3307">3</cx:pt>
          <cx:pt idx="3308">2</cx:pt>
          <cx:pt idx="3309">3</cx:pt>
          <cx:pt idx="3310">3</cx:pt>
          <cx:pt idx="3311">6</cx:pt>
          <cx:pt idx="3312">4</cx:pt>
          <cx:pt idx="3313">1</cx:pt>
          <cx:pt idx="3314">1</cx:pt>
          <cx:pt idx="3315">1</cx:pt>
          <cx:pt idx="3316">2</cx:pt>
          <cx:pt idx="3317">1</cx:pt>
          <cx:pt idx="3318">1</cx:pt>
          <cx:pt idx="3319">3</cx:pt>
          <cx:pt idx="3320">1</cx:pt>
          <cx:pt idx="3321">2</cx:pt>
          <cx:pt idx="3322">1</cx:pt>
          <cx:pt idx="3323">1</cx:pt>
          <cx:pt idx="3324">1</cx:pt>
          <cx:pt idx="3325">2</cx:pt>
          <cx:pt idx="3326">1</cx:pt>
          <cx:pt idx="3327">3</cx:pt>
          <cx:pt idx="3328">1</cx:pt>
          <cx:pt idx="3329">2</cx:pt>
          <cx:pt idx="3330">2</cx:pt>
          <cx:pt idx="3331">6</cx:pt>
          <cx:pt idx="3332">1</cx:pt>
          <cx:pt idx="3333">2</cx:pt>
          <cx:pt idx="3334">1</cx:pt>
          <cx:pt idx="3335">1</cx:pt>
          <cx:pt idx="3336">6</cx:pt>
          <cx:pt idx="3337">3</cx:pt>
          <cx:pt idx="3338">1</cx:pt>
          <cx:pt idx="3339">1</cx:pt>
          <cx:pt idx="3340">1</cx:pt>
          <cx:pt idx="3341">4</cx:pt>
          <cx:pt idx="3342">4</cx:pt>
          <cx:pt idx="3343">1</cx:pt>
          <cx:pt idx="3344">1</cx:pt>
          <cx:pt idx="3345">2</cx:pt>
          <cx:pt idx="3346">5</cx:pt>
          <cx:pt idx="3347">2</cx:pt>
          <cx:pt idx="3348">2</cx:pt>
          <cx:pt idx="3349">1</cx:pt>
          <cx:pt idx="3350">1</cx:pt>
          <cx:pt idx="3351">1</cx:pt>
          <cx:pt idx="3352">2</cx:pt>
          <cx:pt idx="3353">1</cx:pt>
          <cx:pt idx="3354">1</cx:pt>
          <cx:pt idx="3355">2</cx:pt>
          <cx:pt idx="3356">1</cx:pt>
          <cx:pt idx="3357">1</cx:pt>
          <cx:pt idx="3358">3</cx:pt>
          <cx:pt idx="3359">3</cx:pt>
          <cx:pt idx="3360">2</cx:pt>
          <cx:pt idx="3361">4</cx:pt>
          <cx:pt idx="3362">5</cx:pt>
          <cx:pt idx="3363">4</cx:pt>
          <cx:pt idx="3364">2</cx:pt>
          <cx:pt idx="3365">1</cx:pt>
          <cx:pt idx="3366">1</cx:pt>
          <cx:pt idx="3367">1</cx:pt>
          <cx:pt idx="3368">1</cx:pt>
          <cx:pt idx="3369">4</cx:pt>
          <cx:pt idx="3370">1</cx:pt>
          <cx:pt idx="3371">1</cx:pt>
          <cx:pt idx="3372">3</cx:pt>
          <cx:pt idx="3373">1</cx:pt>
          <cx:pt idx="3374">2</cx:pt>
          <cx:pt idx="3375">2</cx:pt>
          <cx:pt idx="3376">1</cx:pt>
          <cx:pt idx="3377">3</cx:pt>
          <cx:pt idx="3378">2</cx:pt>
          <cx:pt idx="3379">3</cx:pt>
          <cx:pt idx="3380">2</cx:pt>
          <cx:pt idx="3381">2</cx:pt>
          <cx:pt idx="3382">2</cx:pt>
          <cx:pt idx="3383">2</cx:pt>
          <cx:pt idx="3384">3</cx:pt>
          <cx:pt idx="3385">2</cx:pt>
          <cx:pt idx="3386">2</cx:pt>
          <cx:pt idx="3387">1</cx:pt>
          <cx:pt idx="3388">2</cx:pt>
          <cx:pt idx="3389">1</cx:pt>
          <cx:pt idx="3390">1</cx:pt>
          <cx:pt idx="3391">2</cx:pt>
          <cx:pt idx="3392">2</cx:pt>
          <cx:pt idx="3393">2</cx:pt>
          <cx:pt idx="3394">1</cx:pt>
          <cx:pt idx="3395">2</cx:pt>
          <cx:pt idx="3396">2</cx:pt>
          <cx:pt idx="3397">1</cx:pt>
          <cx:pt idx="3398">4</cx:pt>
          <cx:pt idx="3399">2</cx:pt>
          <cx:pt idx="3400">1</cx:pt>
          <cx:pt idx="3401">3</cx:pt>
          <cx:pt idx="3402">3</cx:pt>
          <cx:pt idx="3403">1</cx:pt>
          <cx:pt idx="3404">3</cx:pt>
          <cx:pt idx="3405">1</cx:pt>
          <cx:pt idx="3406">4</cx:pt>
          <cx:pt idx="3407">2</cx:pt>
          <cx:pt idx="3408">2</cx:pt>
          <cx:pt idx="3409">3</cx:pt>
          <cx:pt idx="3410">1</cx:pt>
          <cx:pt idx="3411">1</cx:pt>
          <cx:pt idx="3412">1</cx:pt>
          <cx:pt idx="3413">1</cx:pt>
          <cx:pt idx="3414">2</cx:pt>
          <cx:pt idx="3415">4</cx:pt>
          <cx:pt idx="3416">1</cx:pt>
          <cx:pt idx="3417">2</cx:pt>
          <cx:pt idx="3418">1</cx:pt>
          <cx:pt idx="3419">1</cx:pt>
          <cx:pt idx="3420">1</cx:pt>
          <cx:pt idx="3421">1</cx:pt>
          <cx:pt idx="3422">5</cx:pt>
          <cx:pt idx="3423">1</cx:pt>
          <cx:pt idx="3424">5</cx:pt>
          <cx:pt idx="3425">1</cx:pt>
          <cx:pt idx="3426">3</cx:pt>
          <cx:pt idx="3427">3</cx:pt>
          <cx:pt idx="3428">2</cx:pt>
          <cx:pt idx="3429">1</cx:pt>
          <cx:pt idx="3430">1</cx:pt>
          <cx:pt idx="3431">3</cx:pt>
          <cx:pt idx="3432">1</cx:pt>
          <cx:pt idx="3433">1</cx:pt>
          <cx:pt idx="3434">1</cx:pt>
          <cx:pt idx="3435">1</cx:pt>
          <cx:pt idx="3436">3</cx:pt>
          <cx:pt idx="3437">1</cx:pt>
          <cx:pt idx="3438">4</cx:pt>
          <cx:pt idx="3439">8</cx:pt>
          <cx:pt idx="3440">3</cx:pt>
          <cx:pt idx="3441">1</cx:pt>
          <cx:pt idx="3442">2</cx:pt>
          <cx:pt idx="3443">1</cx:pt>
          <cx:pt idx="3444">2</cx:pt>
          <cx:pt idx="3445">2</cx:pt>
          <cx:pt idx="3446">1</cx:pt>
          <cx:pt idx="3447">2</cx:pt>
          <cx:pt idx="3448">2</cx:pt>
          <cx:pt idx="3449">1</cx:pt>
          <cx:pt idx="3450">2</cx:pt>
          <cx:pt idx="3451">2</cx:pt>
          <cx:pt idx="3452">3</cx:pt>
          <cx:pt idx="3453">1</cx:pt>
          <cx:pt idx="3454">1</cx:pt>
          <cx:pt idx="3455">2</cx:pt>
          <cx:pt idx="3456">3</cx:pt>
          <cx:pt idx="3457">1</cx:pt>
          <cx:pt idx="3458">1</cx:pt>
          <cx:pt idx="3459">1</cx:pt>
          <cx:pt idx="3460">1</cx:pt>
          <cx:pt idx="3461">1</cx:pt>
          <cx:pt idx="3462">2</cx:pt>
          <cx:pt idx="3463">1</cx:pt>
          <cx:pt idx="3464">1</cx:pt>
          <cx:pt idx="3465">2</cx:pt>
          <cx:pt idx="3466">1</cx:pt>
          <cx:pt idx="3467">2</cx:pt>
          <cx:pt idx="3468">2</cx:pt>
          <cx:pt idx="3469">1</cx:pt>
          <cx:pt idx="3470">1</cx:pt>
          <cx:pt idx="3471">1</cx:pt>
          <cx:pt idx="3472">1</cx:pt>
          <cx:pt idx="3473">1</cx:pt>
          <cx:pt idx="3474">1</cx:pt>
          <cx:pt idx="3475">1</cx:pt>
          <cx:pt idx="3476">1</cx:pt>
          <cx:pt idx="3477">2</cx:pt>
          <cx:pt idx="3478">1</cx:pt>
          <cx:pt idx="3479">1</cx:pt>
          <cx:pt idx="3480">3</cx:pt>
          <cx:pt idx="3481">2</cx:pt>
          <cx:pt idx="3482">3</cx:pt>
          <cx:pt idx="3483">3</cx:pt>
          <cx:pt idx="3484">1</cx:pt>
          <cx:pt idx="3485">2</cx:pt>
          <cx:pt idx="3486">1</cx:pt>
          <cx:pt idx="3487">4</cx:pt>
          <cx:pt idx="3488">1</cx:pt>
          <cx:pt idx="3489">1</cx:pt>
          <cx:pt idx="3490">2</cx:pt>
          <cx:pt idx="3491">2</cx:pt>
          <cx:pt idx="3492">1</cx:pt>
          <cx:pt idx="3493">1</cx:pt>
          <cx:pt idx="3494">3</cx:pt>
          <cx:pt idx="3495">1</cx:pt>
          <cx:pt idx="3496">2</cx:pt>
          <cx:pt idx="3497">2</cx:pt>
          <cx:pt idx="3498">2</cx:pt>
          <cx:pt idx="3499">3</cx:pt>
          <cx:pt idx="3500">1</cx:pt>
          <cx:pt idx="3501">2</cx:pt>
          <cx:pt idx="3502">2</cx:pt>
          <cx:pt idx="3503">1</cx:pt>
          <cx:pt idx="3504">1</cx:pt>
          <cx:pt idx="3505">3</cx:pt>
          <cx:pt idx="3506">1</cx:pt>
          <cx:pt idx="3507">1</cx:pt>
          <cx:pt idx="3508">2</cx:pt>
          <cx:pt idx="3509">3</cx:pt>
          <cx:pt idx="3510">1</cx:pt>
          <cx:pt idx="3511">1</cx:pt>
          <cx:pt idx="3512">1</cx:pt>
          <cx:pt idx="3513">3</cx:pt>
          <cx:pt idx="3514">2</cx:pt>
          <cx:pt idx="3515">1</cx:pt>
          <cx:pt idx="3516">2</cx:pt>
          <cx:pt idx="3517">4</cx:pt>
          <cx:pt idx="3518">2</cx:pt>
          <cx:pt idx="3519">3</cx:pt>
          <cx:pt idx="3520">1</cx:pt>
          <cx:pt idx="3521">1</cx:pt>
          <cx:pt idx="3522">1</cx:pt>
          <cx:pt idx="3523">2</cx:pt>
          <cx:pt idx="3524">1</cx:pt>
          <cx:pt idx="3525">1</cx:pt>
          <cx:pt idx="3526">3</cx:pt>
          <cx:pt idx="3527">2</cx:pt>
          <cx:pt idx="3528">4</cx:pt>
          <cx:pt idx="3529">1</cx:pt>
          <cx:pt idx="3530">4</cx:pt>
          <cx:pt idx="3531">1</cx:pt>
          <cx:pt idx="3532">2</cx:pt>
          <cx:pt idx="3533">2</cx:pt>
          <cx:pt idx="3534">2</cx:pt>
          <cx:pt idx="3535">1</cx:pt>
          <cx:pt idx="3536">2</cx:pt>
          <cx:pt idx="3537">1</cx:pt>
          <cx:pt idx="3538">1</cx:pt>
          <cx:pt idx="3539">1</cx:pt>
          <cx:pt idx="3540">3</cx:pt>
          <cx:pt idx="3541">1</cx:pt>
          <cx:pt idx="3542">1</cx:pt>
          <cx:pt idx="3543">1</cx:pt>
          <cx:pt idx="3544">3</cx:pt>
          <cx:pt idx="3545">1</cx:pt>
          <cx:pt idx="3546">1</cx:pt>
          <cx:pt idx="3547">2</cx:pt>
          <cx:pt idx="3548">5</cx:pt>
          <cx:pt idx="3549">1</cx:pt>
          <cx:pt idx="3550">3</cx:pt>
          <cx:pt idx="3551">4</cx:pt>
          <cx:pt idx="3552">4</cx:pt>
          <cx:pt idx="3553">1</cx:pt>
          <cx:pt idx="3554">1</cx:pt>
          <cx:pt idx="3555">2</cx:pt>
          <cx:pt idx="3556">1</cx:pt>
          <cx:pt idx="3557">2</cx:pt>
          <cx:pt idx="3558">1</cx:pt>
          <cx:pt idx="3559">3</cx:pt>
          <cx:pt idx="3560">2</cx:pt>
          <cx:pt idx="3561">2</cx:pt>
          <cx:pt idx="3562">1</cx:pt>
          <cx:pt idx="3563">1</cx:pt>
          <cx:pt idx="3564">3</cx:pt>
          <cx:pt idx="3565">1</cx:pt>
          <cx:pt idx="3566">1</cx:pt>
          <cx:pt idx="3567">1</cx:pt>
          <cx:pt idx="3568">1</cx:pt>
          <cx:pt idx="3569">1</cx:pt>
          <cx:pt idx="3570">2</cx:pt>
          <cx:pt idx="3571">1</cx:pt>
          <cx:pt idx="3572">1</cx:pt>
          <cx:pt idx="3573">2</cx:pt>
          <cx:pt idx="3574">1</cx:pt>
          <cx:pt idx="3575">1</cx:pt>
          <cx:pt idx="3576">2</cx:pt>
          <cx:pt idx="3577">9</cx:pt>
          <cx:pt idx="3578">1</cx:pt>
          <cx:pt idx="3579">1</cx:pt>
          <cx:pt idx="3580">1</cx:pt>
          <cx:pt idx="3581">2</cx:pt>
          <cx:pt idx="3582">3</cx:pt>
          <cx:pt idx="3583">2</cx:pt>
          <cx:pt idx="3584">3</cx:pt>
          <cx:pt idx="3585">2</cx:pt>
          <cx:pt idx="3586">3</cx:pt>
          <cx:pt idx="3587">2</cx:pt>
          <cx:pt idx="3588">1</cx:pt>
          <cx:pt idx="3589">4</cx:pt>
          <cx:pt idx="3590">1</cx:pt>
          <cx:pt idx="3591">2</cx:pt>
          <cx:pt idx="3592">1</cx:pt>
          <cx:pt idx="3593">4</cx:pt>
          <cx:pt idx="3594">4</cx:pt>
          <cx:pt idx="3595">2</cx:pt>
          <cx:pt idx="3596">3</cx:pt>
          <cx:pt idx="3597">5</cx:pt>
          <cx:pt idx="3598">1</cx:pt>
          <cx:pt idx="3599">1</cx:pt>
          <cx:pt idx="3600">2</cx:pt>
          <cx:pt idx="3601">1</cx:pt>
          <cx:pt idx="3602">3</cx:pt>
          <cx:pt idx="3603">1</cx:pt>
          <cx:pt idx="3604">2</cx:pt>
          <cx:pt idx="3605">2</cx:pt>
          <cx:pt idx="3606">1</cx:pt>
          <cx:pt idx="3607">1</cx:pt>
          <cx:pt idx="3608">1</cx:pt>
          <cx:pt idx="3609">3</cx:pt>
          <cx:pt idx="3610">1</cx:pt>
          <cx:pt idx="3611">2</cx:pt>
          <cx:pt idx="3612">3</cx:pt>
          <cx:pt idx="3613">2</cx:pt>
          <cx:pt idx="3614">2</cx:pt>
          <cx:pt idx="3615">1</cx:pt>
          <cx:pt idx="3616">5</cx:pt>
          <cx:pt idx="3617">3</cx:pt>
          <cx:pt idx="3618">4</cx:pt>
          <cx:pt idx="3619">2</cx:pt>
          <cx:pt idx="3620">2</cx:pt>
          <cx:pt idx="3621">1</cx:pt>
          <cx:pt idx="3622">4</cx:pt>
          <cx:pt idx="3623">4</cx:pt>
          <cx:pt idx="3624">2</cx:pt>
          <cx:pt idx="3625">1</cx:pt>
          <cx:pt idx="3626">2</cx:pt>
          <cx:pt idx="3627">1</cx:pt>
          <cx:pt idx="3628">4</cx:pt>
          <cx:pt idx="3629">2</cx:pt>
          <cx:pt idx="3630">5</cx:pt>
          <cx:pt idx="3631">1</cx:pt>
          <cx:pt idx="3632">2</cx:pt>
          <cx:pt idx="3633">4</cx:pt>
          <cx:pt idx="3634">1</cx:pt>
          <cx:pt idx="3635">1</cx:pt>
          <cx:pt idx="3636">1</cx:pt>
          <cx:pt idx="3637">6</cx:pt>
          <cx:pt idx="3638">2</cx:pt>
          <cx:pt idx="3639">2</cx:pt>
          <cx:pt idx="3640">1</cx:pt>
          <cx:pt idx="3641">2</cx:pt>
          <cx:pt idx="3642">2</cx:pt>
          <cx:pt idx="3643">1</cx:pt>
          <cx:pt idx="3644">2</cx:pt>
          <cx:pt idx="3645">1</cx:pt>
          <cx:pt idx="3646">1</cx:pt>
          <cx:pt idx="3647">1</cx:pt>
          <cx:pt idx="3648">2</cx:pt>
          <cx:pt idx="3649">1</cx:pt>
          <cx:pt idx="3650">4</cx:pt>
          <cx:pt idx="3651">1</cx:pt>
          <cx:pt idx="3652">3</cx:pt>
          <cx:pt idx="3653">1</cx:pt>
          <cx:pt idx="3654">2</cx:pt>
          <cx:pt idx="3655">2</cx:pt>
          <cx:pt idx="3656">1</cx:pt>
          <cx:pt idx="3657">1</cx:pt>
          <cx:pt idx="3658">1</cx:pt>
          <cx:pt idx="3659">2</cx:pt>
          <cx:pt idx="3660">2</cx:pt>
          <cx:pt idx="3661">2</cx:pt>
          <cx:pt idx="3662">1</cx:pt>
          <cx:pt idx="3663">6</cx:pt>
          <cx:pt idx="3664">2</cx:pt>
          <cx:pt idx="3665">2</cx:pt>
          <cx:pt idx="3666">4</cx:pt>
          <cx:pt idx="3667">3</cx:pt>
          <cx:pt idx="3668">2</cx:pt>
          <cx:pt idx="3669">2</cx:pt>
          <cx:pt idx="3670">1</cx:pt>
          <cx:pt idx="3671">2</cx:pt>
          <cx:pt idx="3672">1</cx:pt>
          <cx:pt idx="3673">2</cx:pt>
          <cx:pt idx="3674">1</cx:pt>
          <cx:pt idx="3675">1</cx:pt>
          <cx:pt idx="3676">3</cx:pt>
          <cx:pt idx="3677">4</cx:pt>
          <cx:pt idx="3678">3</cx:pt>
          <cx:pt idx="3679">3</cx:pt>
          <cx:pt idx="3680">1</cx:pt>
          <cx:pt idx="3681">1</cx:pt>
          <cx:pt idx="3682">3</cx:pt>
          <cx:pt idx="3683">1</cx:pt>
          <cx:pt idx="3684">3</cx:pt>
          <cx:pt idx="3685">4</cx:pt>
          <cx:pt idx="3686">4</cx:pt>
          <cx:pt idx="3687">1</cx:pt>
          <cx:pt idx="3688">3</cx:pt>
          <cx:pt idx="3689">2</cx:pt>
          <cx:pt idx="3690">3</cx:pt>
          <cx:pt idx="3691">2</cx:pt>
          <cx:pt idx="3692">1</cx:pt>
          <cx:pt idx="3693">1</cx:pt>
          <cx:pt idx="3694">1</cx:pt>
          <cx:pt idx="3695">1</cx:pt>
          <cx:pt idx="3696">1</cx:pt>
          <cx:pt idx="3697">1</cx:pt>
          <cx:pt idx="3698">2</cx:pt>
          <cx:pt idx="3699">3</cx:pt>
          <cx:pt idx="3700">3</cx:pt>
          <cx:pt idx="3701">1</cx:pt>
          <cx:pt idx="3702">9</cx:pt>
          <cx:pt idx="3703">1</cx:pt>
          <cx:pt idx="3704">4</cx:pt>
          <cx:pt idx="3705">3</cx:pt>
          <cx:pt idx="3706">3</cx:pt>
          <cx:pt idx="3707">2</cx:pt>
          <cx:pt idx="3708">1</cx:pt>
          <cx:pt idx="3709">3</cx:pt>
          <cx:pt idx="3710">6</cx:pt>
          <cx:pt idx="3711">1</cx:pt>
          <cx:pt idx="3712">1</cx:pt>
          <cx:pt idx="3713">1</cx:pt>
          <cx:pt idx="3714">1</cx:pt>
          <cx:pt idx="3715">1</cx:pt>
          <cx:pt idx="3716">4</cx:pt>
          <cx:pt idx="3717">5</cx:pt>
          <cx:pt idx="3718">1</cx:pt>
          <cx:pt idx="3719">4</cx:pt>
          <cx:pt idx="3720">1</cx:pt>
          <cx:pt idx="3721">1</cx:pt>
          <cx:pt idx="3722">1</cx:pt>
          <cx:pt idx="3723">1</cx:pt>
          <cx:pt idx="3724">2</cx:pt>
          <cx:pt idx="3725">3</cx:pt>
          <cx:pt idx="3726">1</cx:pt>
          <cx:pt idx="3727">1</cx:pt>
          <cx:pt idx="3728">1</cx:pt>
          <cx:pt idx="3729">2</cx:pt>
          <cx:pt idx="3730">3</cx:pt>
          <cx:pt idx="3731">2</cx:pt>
          <cx:pt idx="3732">4</cx:pt>
          <cx:pt idx="3733">1</cx:pt>
          <cx:pt idx="3734">3</cx:pt>
          <cx:pt idx="3735">2</cx:pt>
          <cx:pt idx="3736">2</cx:pt>
          <cx:pt idx="3737">1</cx:pt>
          <cx:pt idx="3738">2</cx:pt>
          <cx:pt idx="3739">3</cx:pt>
          <cx:pt idx="3740">1</cx:pt>
          <cx:pt idx="3741">1</cx:pt>
          <cx:pt idx="3742">1</cx:pt>
          <cx:pt idx="3743">1</cx:pt>
          <cx:pt idx="3744">1</cx:pt>
          <cx:pt idx="3745">2</cx:pt>
          <cx:pt idx="3746">3</cx:pt>
          <cx:pt idx="3747">1</cx:pt>
          <cx:pt idx="3748">1</cx:pt>
          <cx:pt idx="3749">3</cx:pt>
          <cx:pt idx="3750">1</cx:pt>
          <cx:pt idx="3751">1</cx:pt>
          <cx:pt idx="3752">1</cx:pt>
          <cx:pt idx="3753">3</cx:pt>
          <cx:pt idx="3754">1</cx:pt>
          <cx:pt idx="3755">3</cx:pt>
          <cx:pt idx="3756">2</cx:pt>
          <cx:pt idx="3757">1</cx:pt>
          <cx:pt idx="3758">2</cx:pt>
          <cx:pt idx="3759">2</cx:pt>
          <cx:pt idx="3760">2</cx:pt>
          <cx:pt idx="3761">1</cx:pt>
          <cx:pt idx="3762">3</cx:pt>
          <cx:pt idx="3763">4</cx:pt>
          <cx:pt idx="3764">2</cx:pt>
          <cx:pt idx="3765">3</cx:pt>
          <cx:pt idx="3766">3</cx:pt>
          <cx:pt idx="3767">3</cx:pt>
          <cx:pt idx="3768">1</cx:pt>
          <cx:pt idx="3769">2</cx:pt>
          <cx:pt idx="3770">2</cx:pt>
          <cx:pt idx="3771">2</cx:pt>
          <cx:pt idx="3772">2</cx:pt>
          <cx:pt idx="3773">1</cx:pt>
          <cx:pt idx="3774">2</cx:pt>
          <cx:pt idx="3775">2</cx:pt>
          <cx:pt idx="3776">1</cx:pt>
          <cx:pt idx="3777">4</cx:pt>
          <cx:pt idx="3778">3</cx:pt>
          <cx:pt idx="3779">1</cx:pt>
          <cx:pt idx="3780">1</cx:pt>
          <cx:pt idx="3781">1</cx:pt>
          <cx:pt idx="3782">1</cx:pt>
          <cx:pt idx="3783">4</cx:pt>
          <cx:pt idx="3784">4</cx:pt>
          <cx:pt idx="3785">6</cx:pt>
          <cx:pt idx="3786">1</cx:pt>
          <cx:pt idx="3787">1</cx:pt>
          <cx:pt idx="3788">2</cx:pt>
          <cx:pt idx="3789">1</cx:pt>
          <cx:pt idx="3790">5</cx:pt>
          <cx:pt idx="3791">1</cx:pt>
          <cx:pt idx="3792">2</cx:pt>
          <cx:pt idx="3793">1</cx:pt>
          <cx:pt idx="3794">1</cx:pt>
          <cx:pt idx="3795">1</cx:pt>
          <cx:pt idx="3796">4</cx:pt>
          <cx:pt idx="3797">1</cx:pt>
          <cx:pt idx="3798">2</cx:pt>
          <cx:pt idx="3799">3</cx:pt>
          <cx:pt idx="3800">1</cx:pt>
          <cx:pt idx="3801">1</cx:pt>
          <cx:pt idx="3802">2</cx:pt>
          <cx:pt idx="3803">1</cx:pt>
          <cx:pt idx="3804">1</cx:pt>
          <cx:pt idx="3805">1</cx:pt>
          <cx:pt idx="3806">6</cx:pt>
          <cx:pt idx="3807">1</cx:pt>
          <cx:pt idx="3808">1</cx:pt>
          <cx:pt idx="3809">2</cx:pt>
          <cx:pt idx="3810">6</cx:pt>
          <cx:pt idx="3811">2</cx:pt>
          <cx:pt idx="3812">1</cx:pt>
          <cx:pt idx="3813">2</cx:pt>
          <cx:pt idx="3814">2</cx:pt>
          <cx:pt idx="3815">1</cx:pt>
          <cx:pt idx="3816">1</cx:pt>
          <cx:pt idx="3817">5</cx:pt>
          <cx:pt idx="3818">7</cx:pt>
          <cx:pt idx="3819">1</cx:pt>
          <cx:pt idx="3820">2</cx:pt>
          <cx:pt idx="3821">1</cx:pt>
          <cx:pt idx="3822">1</cx:pt>
          <cx:pt idx="3823">1</cx:pt>
          <cx:pt idx="3824">1</cx:pt>
          <cx:pt idx="3825">2</cx:pt>
          <cx:pt idx="3826">1</cx:pt>
          <cx:pt idx="3827">3</cx:pt>
          <cx:pt idx="3828">1</cx:pt>
          <cx:pt idx="3829">2</cx:pt>
          <cx:pt idx="3830">3</cx:pt>
          <cx:pt idx="3831">5</cx:pt>
          <cx:pt idx="3832">1</cx:pt>
          <cx:pt idx="3833">1</cx:pt>
          <cx:pt idx="3834">1</cx:pt>
          <cx:pt idx="3835">4</cx:pt>
          <cx:pt idx="3836">3</cx:pt>
          <cx:pt idx="3837">6</cx:pt>
          <cx:pt idx="3838">4</cx:pt>
          <cx:pt idx="3839">4</cx:pt>
          <cx:pt idx="3840">3</cx:pt>
          <cx:pt idx="3841">1</cx:pt>
          <cx:pt idx="3842">2</cx:pt>
          <cx:pt idx="3843">2</cx:pt>
          <cx:pt idx="3844">5</cx:pt>
          <cx:pt idx="3845">2</cx:pt>
          <cx:pt idx="3846">2</cx:pt>
          <cx:pt idx="3847">3</cx:pt>
          <cx:pt idx="3848">1</cx:pt>
          <cx:pt idx="3849">3</cx:pt>
          <cx:pt idx="3850">4</cx:pt>
          <cx:pt idx="3851">1</cx:pt>
          <cx:pt idx="3852">2</cx:pt>
          <cx:pt idx="3853">7</cx:pt>
          <cx:pt idx="3854">1</cx:pt>
          <cx:pt idx="3855">3</cx:pt>
          <cx:pt idx="3856">1</cx:pt>
          <cx:pt idx="3857">2</cx:pt>
          <cx:pt idx="3858">2</cx:pt>
          <cx:pt idx="3859">3</cx:pt>
          <cx:pt idx="3860">1</cx:pt>
          <cx:pt idx="3861">4</cx:pt>
          <cx:pt idx="3862">1</cx:pt>
          <cx:pt idx="3863">2</cx:pt>
          <cx:pt idx="3864">3</cx:pt>
          <cx:pt idx="3865">2</cx:pt>
          <cx:pt idx="3866">2</cx:pt>
          <cx:pt idx="3867">7</cx:pt>
          <cx:pt idx="3868">1</cx:pt>
          <cx:pt idx="3869">4</cx:pt>
          <cx:pt idx="3870">1</cx:pt>
          <cx:pt idx="3871">3</cx:pt>
          <cx:pt idx="3872">3</cx:pt>
          <cx:pt idx="3873">1</cx:pt>
          <cx:pt idx="3874">2</cx:pt>
          <cx:pt idx="3875">3</cx:pt>
          <cx:pt idx="3876">1</cx:pt>
          <cx:pt idx="3877">1</cx:pt>
          <cx:pt idx="3878">2</cx:pt>
          <cx:pt idx="3879">2</cx:pt>
          <cx:pt idx="3880">3</cx:pt>
          <cx:pt idx="3881">5</cx:pt>
          <cx:pt idx="3882">3</cx:pt>
          <cx:pt idx="3883">2</cx:pt>
          <cx:pt idx="3884">4</cx:pt>
          <cx:pt idx="3885">2</cx:pt>
          <cx:pt idx="3886">1</cx:pt>
          <cx:pt idx="3887">4</cx:pt>
          <cx:pt idx="3888">1</cx:pt>
          <cx:pt idx="3889">2</cx:pt>
          <cx:pt idx="3890">1</cx:pt>
          <cx:pt idx="3891">4</cx:pt>
          <cx:pt idx="3892">2</cx:pt>
          <cx:pt idx="3893">3</cx:pt>
          <cx:pt idx="3894">3</cx:pt>
          <cx:pt idx="3895">3</cx:pt>
          <cx:pt idx="3896">2</cx:pt>
          <cx:pt idx="3897">2</cx:pt>
          <cx:pt idx="3898">3</cx:pt>
          <cx:pt idx="3899">1</cx:pt>
          <cx:pt idx="3900">1</cx:pt>
          <cx:pt idx="3901">2</cx:pt>
          <cx:pt idx="3902">1</cx:pt>
          <cx:pt idx="3903">2</cx:pt>
          <cx:pt idx="3904">1</cx:pt>
          <cx:pt idx="3905">3</cx:pt>
          <cx:pt idx="3906">1</cx:pt>
          <cx:pt idx="3907">3</cx:pt>
          <cx:pt idx="3908">3</cx:pt>
          <cx:pt idx="3909">1</cx:pt>
          <cx:pt idx="3910">3</cx:pt>
          <cx:pt idx="3911">2</cx:pt>
          <cx:pt idx="3912">1</cx:pt>
          <cx:pt idx="3913">1</cx:pt>
          <cx:pt idx="3914">1</cx:pt>
          <cx:pt idx="3915">4</cx:pt>
          <cx:pt idx="3916">1</cx:pt>
          <cx:pt idx="3917">2</cx:pt>
          <cx:pt idx="3918">1</cx:pt>
          <cx:pt idx="3919">2</cx:pt>
          <cx:pt idx="3920">2</cx:pt>
          <cx:pt idx="3921">3</cx:pt>
          <cx:pt idx="3922">4</cx:pt>
          <cx:pt idx="3923">3</cx:pt>
          <cx:pt idx="3924">5</cx:pt>
          <cx:pt idx="3925">2</cx:pt>
          <cx:pt idx="3926">3</cx:pt>
          <cx:pt idx="3927">1</cx:pt>
          <cx:pt idx="3928">1</cx:pt>
          <cx:pt idx="3929">2</cx:pt>
          <cx:pt idx="3930">1</cx:pt>
          <cx:pt idx="3931">1</cx:pt>
          <cx:pt idx="3932">2</cx:pt>
          <cx:pt idx="3933">5</cx:pt>
          <cx:pt idx="3934">2</cx:pt>
          <cx:pt idx="3935">1</cx:pt>
          <cx:pt idx="3936">1</cx:pt>
          <cx:pt idx="3937">1</cx:pt>
          <cx:pt idx="3938">4</cx:pt>
          <cx:pt idx="3939">1</cx:pt>
          <cx:pt idx="3940">2</cx:pt>
          <cx:pt idx="3941">1</cx:pt>
          <cx:pt idx="3942">1</cx:pt>
          <cx:pt idx="3943">2</cx:pt>
          <cx:pt idx="3944">1</cx:pt>
          <cx:pt idx="3945">4</cx:pt>
          <cx:pt idx="3946">2</cx:pt>
          <cx:pt idx="3947">1</cx:pt>
          <cx:pt idx="3948">2</cx:pt>
          <cx:pt idx="3949">1</cx:pt>
          <cx:pt idx="3950">1</cx:pt>
          <cx:pt idx="3951">2</cx:pt>
          <cx:pt idx="3952">2</cx:pt>
          <cx:pt idx="3953">1</cx:pt>
          <cx:pt idx="3954">1</cx:pt>
          <cx:pt idx="3955">3</cx:pt>
          <cx:pt idx="3956">1</cx:pt>
          <cx:pt idx="3957">2</cx:pt>
          <cx:pt idx="3958">1</cx:pt>
          <cx:pt idx="3959">1</cx:pt>
          <cx:pt idx="3960">3</cx:pt>
          <cx:pt idx="3961">1</cx:pt>
          <cx:pt idx="3962">6</cx:pt>
          <cx:pt idx="3963">3</cx:pt>
          <cx:pt idx="3964">1</cx:pt>
          <cx:pt idx="3965">4</cx:pt>
          <cx:pt idx="3966">5</cx:pt>
          <cx:pt idx="3967">2</cx:pt>
          <cx:pt idx="3968">1</cx:pt>
          <cx:pt idx="3969">1</cx:pt>
          <cx:pt idx="3970">2</cx:pt>
          <cx:pt idx="3971">1</cx:pt>
          <cx:pt idx="3972">1</cx:pt>
          <cx:pt idx="3973">2</cx:pt>
          <cx:pt idx="3974">1</cx:pt>
          <cx:pt idx="3975">2</cx:pt>
          <cx:pt idx="3976">3</cx:pt>
          <cx:pt idx="3977">1</cx:pt>
          <cx:pt idx="3978">1</cx:pt>
          <cx:pt idx="3979">2</cx:pt>
          <cx:pt idx="3980">3</cx:pt>
          <cx:pt idx="3981">1</cx:pt>
          <cx:pt idx="3982">1</cx:pt>
          <cx:pt idx="3983">2</cx:pt>
          <cx:pt idx="3984">1</cx:pt>
          <cx:pt idx="3985">2</cx:pt>
          <cx:pt idx="3986">2</cx:pt>
          <cx:pt idx="3987">1</cx:pt>
          <cx:pt idx="3988">1</cx:pt>
          <cx:pt idx="3989">2</cx:pt>
          <cx:pt idx="3990">1</cx:pt>
          <cx:pt idx="3991">2</cx:pt>
          <cx:pt idx="3992">2</cx:pt>
          <cx:pt idx="3993">1</cx:pt>
          <cx:pt idx="3994">3</cx:pt>
          <cx:pt idx="3995">3</cx:pt>
          <cx:pt idx="3996">2</cx:pt>
          <cx:pt idx="3997">1</cx:pt>
          <cx:pt idx="3998">1</cx:pt>
          <cx:pt idx="3999">4</cx:pt>
          <cx:pt idx="4000">1</cx:pt>
          <cx:pt idx="4001">1</cx:pt>
          <cx:pt idx="4002">2</cx:pt>
          <cx:pt idx="4003">1</cx:pt>
          <cx:pt idx="4004">4</cx:pt>
          <cx:pt idx="4005">2</cx:pt>
          <cx:pt idx="4006">1</cx:pt>
          <cx:pt idx="4007">3</cx:pt>
          <cx:pt idx="4008">1</cx:pt>
          <cx:pt idx="4009">1</cx:pt>
          <cx:pt idx="4010">1</cx:pt>
          <cx:pt idx="4011">4</cx:pt>
          <cx:pt idx="4012">1</cx:pt>
          <cx:pt idx="4013">5</cx:pt>
          <cx:pt idx="4014">2</cx:pt>
          <cx:pt idx="4015">3</cx:pt>
          <cx:pt idx="4016">1</cx:pt>
          <cx:pt idx="4017">4</cx:pt>
          <cx:pt idx="4018">3</cx:pt>
          <cx:pt idx="4019">1</cx:pt>
          <cx:pt idx="4020">2</cx:pt>
          <cx:pt idx="4021">2</cx:pt>
          <cx:pt idx="4022">1</cx:pt>
          <cx:pt idx="4023">1</cx:pt>
          <cx:pt idx="4024">1</cx:pt>
          <cx:pt idx="4025">2</cx:pt>
          <cx:pt idx="4026">3</cx:pt>
          <cx:pt idx="4027">1</cx:pt>
          <cx:pt idx="4028">3</cx:pt>
          <cx:pt idx="4029">1</cx:pt>
          <cx:pt idx="4030">2</cx:pt>
          <cx:pt idx="4031">3</cx:pt>
          <cx:pt idx="4032">1</cx:pt>
          <cx:pt idx="4033">3</cx:pt>
          <cx:pt idx="4034">4</cx:pt>
          <cx:pt idx="4035">1</cx:pt>
          <cx:pt idx="4036">3</cx:pt>
          <cx:pt idx="4037">1</cx:pt>
          <cx:pt idx="4038">1</cx:pt>
          <cx:pt idx="4039">1</cx:pt>
          <cx:pt idx="4040">2</cx:pt>
          <cx:pt idx="4041">2</cx:pt>
          <cx:pt idx="4042">1</cx:pt>
          <cx:pt idx="4043">1</cx:pt>
          <cx:pt idx="4044">2</cx:pt>
          <cx:pt idx="4045">2</cx:pt>
          <cx:pt idx="4046">2</cx:pt>
          <cx:pt idx="4047">4</cx:pt>
          <cx:pt idx="4048">3</cx:pt>
          <cx:pt idx="4049">3</cx:pt>
          <cx:pt idx="4050">1</cx:pt>
          <cx:pt idx="4051">5</cx:pt>
          <cx:pt idx="4052">1</cx:pt>
          <cx:pt idx="4053">4</cx:pt>
          <cx:pt idx="4054">2</cx:pt>
          <cx:pt idx="4055">2</cx:pt>
          <cx:pt idx="4056">2</cx:pt>
          <cx:pt idx="4057">2</cx:pt>
          <cx:pt idx="4058">2</cx:pt>
          <cx:pt idx="4059">2</cx:pt>
          <cx:pt idx="4060">1</cx:pt>
          <cx:pt idx="4061">3</cx:pt>
          <cx:pt idx="4062">2</cx:pt>
          <cx:pt idx="4063">2</cx:pt>
          <cx:pt idx="4064">3</cx:pt>
          <cx:pt idx="4065">2</cx:pt>
          <cx:pt idx="4066">1</cx:pt>
          <cx:pt idx="4067">1</cx:pt>
          <cx:pt idx="4068">1</cx:pt>
          <cx:pt idx="4069">1</cx:pt>
          <cx:pt idx="4070">1</cx:pt>
          <cx:pt idx="4071">1</cx:pt>
          <cx:pt idx="4072">2</cx:pt>
          <cx:pt idx="4073">2</cx:pt>
          <cx:pt idx="4074">2</cx:pt>
          <cx:pt idx="4075">3</cx:pt>
          <cx:pt idx="4076">2</cx:pt>
          <cx:pt idx="4077">3</cx:pt>
          <cx:pt idx="4078">3</cx:pt>
          <cx:pt idx="4079">2</cx:pt>
          <cx:pt idx="4080">2</cx:pt>
          <cx:pt idx="4081">3</cx:pt>
          <cx:pt idx="4082">1</cx:pt>
          <cx:pt idx="4083">3</cx:pt>
          <cx:pt idx="4084">2</cx:pt>
          <cx:pt idx="4085">2</cx:pt>
          <cx:pt idx="4086">1</cx:pt>
          <cx:pt idx="4087">1</cx:pt>
          <cx:pt idx="4088">4</cx:pt>
          <cx:pt idx="4089">2</cx:pt>
          <cx:pt idx="4090">2</cx:pt>
          <cx:pt idx="4091">2</cx:pt>
          <cx:pt idx="4092">1</cx:pt>
          <cx:pt idx="4093">1</cx:pt>
          <cx:pt idx="4094">4</cx:pt>
          <cx:pt idx="4095">1</cx:pt>
          <cx:pt idx="4096">1</cx:pt>
          <cx:pt idx="4097">1</cx:pt>
          <cx:pt idx="4098">3</cx:pt>
          <cx:pt idx="4099">1</cx:pt>
          <cx:pt idx="4100">1</cx:pt>
          <cx:pt idx="4101">3</cx:pt>
          <cx:pt idx="4102">5</cx:pt>
          <cx:pt idx="4103">3</cx:pt>
          <cx:pt idx="4104">1</cx:pt>
          <cx:pt idx="4105">2</cx:pt>
          <cx:pt idx="4106">2</cx:pt>
          <cx:pt idx="4107">1</cx:pt>
          <cx:pt idx="4108">1</cx:pt>
          <cx:pt idx="4109">1</cx:pt>
          <cx:pt idx="4110">1</cx:pt>
          <cx:pt idx="4111">1</cx:pt>
          <cx:pt idx="4112">1</cx:pt>
          <cx:pt idx="4113">1</cx:pt>
          <cx:pt idx="4114">2</cx:pt>
          <cx:pt idx="4115">2</cx:pt>
          <cx:pt idx="4116">3</cx:pt>
          <cx:pt idx="4117">3</cx:pt>
          <cx:pt idx="4118">1</cx:pt>
          <cx:pt idx="4119">1</cx:pt>
          <cx:pt idx="4120">1</cx:pt>
          <cx:pt idx="4121">2</cx:pt>
          <cx:pt idx="4122">2</cx:pt>
          <cx:pt idx="4123">1</cx:pt>
          <cx:pt idx="4124">4</cx:pt>
          <cx:pt idx="4125">3</cx:pt>
          <cx:pt idx="4126">1</cx:pt>
          <cx:pt idx="4127">2</cx:pt>
          <cx:pt idx="4128">5</cx:pt>
          <cx:pt idx="4129">2</cx:pt>
          <cx:pt idx="4130">2</cx:pt>
          <cx:pt idx="4131">2</cx:pt>
          <cx:pt idx="4132">2</cx:pt>
          <cx:pt idx="4133">4</cx:pt>
          <cx:pt idx="4134">5</cx:pt>
          <cx:pt idx="4135">2</cx:pt>
          <cx:pt idx="4136">5</cx:pt>
          <cx:pt idx="4137">2</cx:pt>
          <cx:pt idx="4138">1</cx:pt>
          <cx:pt idx="4139">1</cx:pt>
          <cx:pt idx="4140">1</cx:pt>
          <cx:pt idx="4141">1</cx:pt>
          <cx:pt idx="4142">3</cx:pt>
          <cx:pt idx="4143">1</cx:pt>
          <cx:pt idx="4144">1</cx:pt>
          <cx:pt idx="4145">1</cx:pt>
          <cx:pt idx="4146">1</cx:pt>
          <cx:pt idx="4147">3</cx:pt>
          <cx:pt idx="4148">2</cx:pt>
          <cx:pt idx="4149">2</cx:pt>
          <cx:pt idx="4150">1</cx:pt>
          <cx:pt idx="4151">1</cx:pt>
          <cx:pt idx="4152">1</cx:pt>
          <cx:pt idx="4153">1</cx:pt>
          <cx:pt idx="4154">1</cx:pt>
          <cx:pt idx="4155">1</cx:pt>
          <cx:pt idx="4156">2</cx:pt>
          <cx:pt idx="4157">1</cx:pt>
          <cx:pt idx="4158">1</cx:pt>
          <cx:pt idx="4159">4</cx:pt>
          <cx:pt idx="4160">4</cx:pt>
          <cx:pt idx="4161">1</cx:pt>
          <cx:pt idx="4162">2</cx:pt>
          <cx:pt idx="4163">2</cx:pt>
          <cx:pt idx="4164">1</cx:pt>
          <cx:pt idx="4165">2</cx:pt>
          <cx:pt idx="4166">2</cx:pt>
          <cx:pt idx="4167">2</cx:pt>
          <cx:pt idx="4168">1</cx:pt>
          <cx:pt idx="4169">1</cx:pt>
          <cx:pt idx="4170">2</cx:pt>
          <cx:pt idx="4171">2</cx:pt>
          <cx:pt idx="4172">2</cx:pt>
          <cx:pt idx="4173">2</cx:pt>
          <cx:pt idx="4174">3</cx:pt>
          <cx:pt idx="4175">1</cx:pt>
          <cx:pt idx="4176">1</cx:pt>
          <cx:pt idx="4177">2</cx:pt>
          <cx:pt idx="4178">1</cx:pt>
          <cx:pt idx="4179">2</cx:pt>
          <cx:pt idx="4180">4</cx:pt>
          <cx:pt idx="4181">2</cx:pt>
          <cx:pt idx="4182">1</cx:pt>
          <cx:pt idx="4183">1</cx:pt>
          <cx:pt idx="4184">4</cx:pt>
          <cx:pt idx="4185">1</cx:pt>
          <cx:pt idx="4186">2</cx:pt>
          <cx:pt idx="4187">4</cx:pt>
          <cx:pt idx="4188">3</cx:pt>
          <cx:pt idx="4189">1</cx:pt>
          <cx:pt idx="4190">2</cx:pt>
          <cx:pt idx="4191">1</cx:pt>
          <cx:pt idx="4192">1</cx:pt>
          <cx:pt idx="4193">1</cx:pt>
          <cx:pt idx="4194">2</cx:pt>
          <cx:pt idx="4195">2</cx:pt>
          <cx:pt idx="4196">2</cx:pt>
          <cx:pt idx="4197">2</cx:pt>
          <cx:pt idx="4198">4</cx:pt>
          <cx:pt idx="4199">1</cx:pt>
          <cx:pt idx="4200">4</cx:pt>
          <cx:pt idx="4201">2</cx:pt>
          <cx:pt idx="4202">4</cx:pt>
          <cx:pt idx="4203">2</cx:pt>
          <cx:pt idx="4204">2</cx:pt>
          <cx:pt idx="4205">2</cx:pt>
          <cx:pt idx="4206">2</cx:pt>
          <cx:pt idx="4207">1</cx:pt>
          <cx:pt idx="4208">2</cx:pt>
          <cx:pt idx="4209">1</cx:pt>
          <cx:pt idx="4210">2</cx:pt>
          <cx:pt idx="4211">3</cx:pt>
          <cx:pt idx="4212">1</cx:pt>
          <cx:pt idx="4213">2</cx:pt>
          <cx:pt idx="4214">2</cx:pt>
          <cx:pt idx="4215">1</cx:pt>
          <cx:pt idx="4216">1</cx:pt>
          <cx:pt idx="4217">3</cx:pt>
          <cx:pt idx="4218">1</cx:pt>
          <cx:pt idx="4219">1</cx:pt>
          <cx:pt idx="4220">4</cx:pt>
          <cx:pt idx="4221">5</cx:pt>
          <cx:pt idx="4222">2</cx:pt>
          <cx:pt idx="4223">1</cx:pt>
          <cx:pt idx="4224">3</cx:pt>
          <cx:pt idx="4225">5</cx:pt>
          <cx:pt idx="4226">1</cx:pt>
          <cx:pt idx="4227">2</cx:pt>
          <cx:pt idx="4228">7</cx:pt>
          <cx:pt idx="4229">2</cx:pt>
          <cx:pt idx="4230">1</cx:pt>
          <cx:pt idx="4231">3</cx:pt>
          <cx:pt idx="4232">1</cx:pt>
          <cx:pt idx="4233">4</cx:pt>
          <cx:pt idx="4234">3</cx:pt>
          <cx:pt idx="4235">2</cx:pt>
          <cx:pt idx="4236">2</cx:pt>
          <cx:pt idx="4237">5</cx:pt>
          <cx:pt idx="4238">1</cx:pt>
          <cx:pt idx="4239">3</cx:pt>
          <cx:pt idx="4240">1</cx:pt>
          <cx:pt idx="4241">4</cx:pt>
          <cx:pt idx="4242">1</cx:pt>
          <cx:pt idx="4243">2</cx:pt>
          <cx:pt idx="4244">3</cx:pt>
          <cx:pt idx="4245">2</cx:pt>
          <cx:pt idx="4246">1</cx:pt>
          <cx:pt idx="4247">2</cx:pt>
          <cx:pt idx="4248">3</cx:pt>
          <cx:pt idx="4249">2</cx:pt>
          <cx:pt idx="4250">2</cx:pt>
          <cx:pt idx="4251">2</cx:pt>
          <cx:pt idx="4252">1</cx:pt>
          <cx:pt idx="4253">3</cx:pt>
          <cx:pt idx="4254">1</cx:pt>
          <cx:pt idx="4255">2</cx:pt>
          <cx:pt idx="4256">1</cx:pt>
          <cx:pt idx="4257">1</cx:pt>
          <cx:pt idx="4258">3</cx:pt>
          <cx:pt idx="4259">3</cx:pt>
          <cx:pt idx="4260">1</cx:pt>
          <cx:pt idx="4261">4</cx:pt>
          <cx:pt idx="4262">1</cx:pt>
          <cx:pt idx="4263">3</cx:pt>
          <cx:pt idx="4264">6</cx:pt>
          <cx:pt idx="4265">2</cx:pt>
          <cx:pt idx="4266">4</cx:pt>
          <cx:pt idx="4267">1</cx:pt>
          <cx:pt idx="4268">1</cx:pt>
          <cx:pt idx="4269">1</cx:pt>
          <cx:pt idx="4270">1</cx:pt>
          <cx:pt idx="4271">1</cx:pt>
          <cx:pt idx="4272">4</cx:pt>
          <cx:pt idx="4273">1</cx:pt>
          <cx:pt idx="4274">2</cx:pt>
          <cx:pt idx="4275">1</cx:pt>
          <cx:pt idx="4276">6</cx:pt>
          <cx:pt idx="4277">1</cx:pt>
          <cx:pt idx="4278">2</cx:pt>
          <cx:pt idx="4279">4</cx:pt>
          <cx:pt idx="4280">6</cx:pt>
          <cx:pt idx="4281">2</cx:pt>
          <cx:pt idx="4282">2</cx:pt>
          <cx:pt idx="4283">2</cx:pt>
          <cx:pt idx="4284">2</cx:pt>
          <cx:pt idx="4285">4</cx:pt>
          <cx:pt idx="4286">5</cx:pt>
          <cx:pt idx="4287">1</cx:pt>
          <cx:pt idx="4288">1</cx:pt>
          <cx:pt idx="4289">2</cx:pt>
          <cx:pt idx="4290">5</cx:pt>
          <cx:pt idx="4291">2</cx:pt>
          <cx:pt idx="4292">1</cx:pt>
          <cx:pt idx="4293">1</cx:pt>
          <cx:pt idx="4294">1</cx:pt>
          <cx:pt idx="4295">1</cx:pt>
          <cx:pt idx="4296">1</cx:pt>
          <cx:pt idx="4297">1</cx:pt>
          <cx:pt idx="4298">2</cx:pt>
          <cx:pt idx="4299">1</cx:pt>
          <cx:pt idx="4300">1</cx:pt>
          <cx:pt idx="4301">1</cx:pt>
          <cx:pt idx="4302">4</cx:pt>
          <cx:pt idx="4303">1</cx:pt>
          <cx:pt idx="4304">4</cx:pt>
          <cx:pt idx="4305">3</cx:pt>
          <cx:pt idx="4306">1</cx:pt>
          <cx:pt idx="4307">2</cx:pt>
          <cx:pt idx="4308">3</cx:pt>
          <cx:pt idx="4309">1</cx:pt>
          <cx:pt idx="4310">2</cx:pt>
          <cx:pt idx="4311">3</cx:pt>
          <cx:pt idx="4312">2</cx:pt>
          <cx:pt idx="4313">4</cx:pt>
          <cx:pt idx="4314">2</cx:pt>
          <cx:pt idx="4315">1</cx:pt>
          <cx:pt idx="4316">2</cx:pt>
          <cx:pt idx="4317">3</cx:pt>
          <cx:pt idx="4318">1</cx:pt>
          <cx:pt idx="4319">1</cx:pt>
          <cx:pt idx="4320">3</cx:pt>
          <cx:pt idx="4321">1</cx:pt>
          <cx:pt idx="4322">3</cx:pt>
          <cx:pt idx="4323">2</cx:pt>
          <cx:pt idx="4324">1</cx:pt>
          <cx:pt idx="4325">1</cx:pt>
          <cx:pt idx="4326">1</cx:pt>
          <cx:pt idx="4327">3</cx:pt>
          <cx:pt idx="4328">2</cx:pt>
          <cx:pt idx="4329">2</cx:pt>
          <cx:pt idx="4330">4</cx:pt>
          <cx:pt idx="4331">2</cx:pt>
          <cx:pt idx="4332">3</cx:pt>
          <cx:pt idx="4333">2</cx:pt>
          <cx:pt idx="4334">2</cx:pt>
          <cx:pt idx="4335">1</cx:pt>
          <cx:pt idx="4336">1</cx:pt>
          <cx:pt idx="4337">1</cx:pt>
          <cx:pt idx="4338">2</cx:pt>
          <cx:pt idx="4339">1</cx:pt>
          <cx:pt idx="4340">2</cx:pt>
          <cx:pt idx="4341">1</cx:pt>
          <cx:pt idx="4342">1</cx:pt>
          <cx:pt idx="4343">3</cx:pt>
          <cx:pt idx="4344">2</cx:pt>
          <cx:pt idx="4345">1</cx:pt>
          <cx:pt idx="4346">1</cx:pt>
          <cx:pt idx="4347">1</cx:pt>
          <cx:pt idx="4348">2</cx:pt>
          <cx:pt idx="4349">2</cx:pt>
          <cx:pt idx="4350">1</cx:pt>
          <cx:pt idx="4351">5</cx:pt>
          <cx:pt idx="4352">2</cx:pt>
          <cx:pt idx="4353">2</cx:pt>
          <cx:pt idx="4354">2</cx:pt>
          <cx:pt idx="4355">1</cx:pt>
          <cx:pt idx="4356">3</cx:pt>
          <cx:pt idx="4357">1</cx:pt>
          <cx:pt idx="4358">1</cx:pt>
          <cx:pt idx="4359">2</cx:pt>
          <cx:pt idx="4360">2</cx:pt>
          <cx:pt idx="4361">1</cx:pt>
          <cx:pt idx="4362">1</cx:pt>
          <cx:pt idx="4363">1</cx:pt>
          <cx:pt idx="4364">4</cx:pt>
          <cx:pt idx="4365">1</cx:pt>
          <cx:pt idx="4366">2</cx:pt>
          <cx:pt idx="4367">2</cx:pt>
          <cx:pt idx="4368">3</cx:pt>
          <cx:pt idx="4369">2</cx:pt>
          <cx:pt idx="4370">1</cx:pt>
          <cx:pt idx="4371">1</cx:pt>
          <cx:pt idx="4372">2</cx:pt>
          <cx:pt idx="4373">1</cx:pt>
          <cx:pt idx="4374">1</cx:pt>
          <cx:pt idx="4375">1</cx:pt>
          <cx:pt idx="4376">1</cx:pt>
          <cx:pt idx="4377">1</cx:pt>
          <cx:pt idx="4378">1</cx:pt>
          <cx:pt idx="4379">4</cx:pt>
          <cx:pt idx="4380">4</cx:pt>
          <cx:pt idx="4381">1</cx:pt>
          <cx:pt idx="4382">2</cx:pt>
          <cx:pt idx="4383">1</cx:pt>
          <cx:pt idx="4384">1</cx:pt>
          <cx:pt idx="4385">2</cx:pt>
          <cx:pt idx="4386">1</cx:pt>
          <cx:pt idx="4387">3</cx:pt>
          <cx:pt idx="4388">2</cx:pt>
          <cx:pt idx="4389">2</cx:pt>
          <cx:pt idx="4390">1</cx:pt>
          <cx:pt idx="4391">4</cx:pt>
          <cx:pt idx="4392">3</cx:pt>
          <cx:pt idx="4393">1</cx:pt>
          <cx:pt idx="4394">1</cx:pt>
          <cx:pt idx="4395">3</cx:pt>
          <cx:pt idx="4396">1</cx:pt>
          <cx:pt idx="4397">2</cx:pt>
          <cx:pt idx="4398">4</cx:pt>
          <cx:pt idx="4399">2</cx:pt>
          <cx:pt idx="4400">1</cx:pt>
          <cx:pt idx="4401">1</cx:pt>
          <cx:pt idx="4402">2</cx:pt>
          <cx:pt idx="4403">1</cx:pt>
          <cx:pt idx="4404">2</cx:pt>
          <cx:pt idx="4405">1</cx:pt>
          <cx:pt idx="4406">5</cx:pt>
          <cx:pt idx="4407">2</cx:pt>
          <cx:pt idx="4408">4</cx:pt>
          <cx:pt idx="4409">1</cx:pt>
          <cx:pt idx="4410">1</cx:pt>
          <cx:pt idx="4411">2</cx:pt>
          <cx:pt idx="4412">1</cx:pt>
          <cx:pt idx="4413">5</cx:pt>
          <cx:pt idx="4414">1</cx:pt>
          <cx:pt idx="4415">2</cx:pt>
          <cx:pt idx="4416">2</cx:pt>
          <cx:pt idx="4417">1</cx:pt>
          <cx:pt idx="4418">1</cx:pt>
          <cx:pt idx="4419">1</cx:pt>
          <cx:pt idx="4420">2</cx:pt>
          <cx:pt idx="4421">1</cx:pt>
          <cx:pt idx="4422">3</cx:pt>
          <cx:pt idx="4423">2</cx:pt>
          <cx:pt idx="4424">2</cx:pt>
          <cx:pt idx="4425">3</cx:pt>
          <cx:pt idx="4426">1</cx:pt>
          <cx:pt idx="4427">4</cx:pt>
          <cx:pt idx="4428">2</cx:pt>
          <cx:pt idx="4429">2</cx:pt>
          <cx:pt idx="4430">1</cx:pt>
          <cx:pt idx="4431">1</cx:pt>
          <cx:pt idx="4432">2</cx:pt>
          <cx:pt idx="4433">1</cx:pt>
          <cx:pt idx="4434">1</cx:pt>
          <cx:pt idx="4435">1</cx:pt>
          <cx:pt idx="4436">2</cx:pt>
          <cx:pt idx="4437">1</cx:pt>
          <cx:pt idx="4438">3</cx:pt>
          <cx:pt idx="4439">1</cx:pt>
          <cx:pt idx="4440">4</cx:pt>
          <cx:pt idx="4441">3</cx:pt>
          <cx:pt idx="4442">1</cx:pt>
          <cx:pt idx="4443">4</cx:pt>
          <cx:pt idx="4444">2</cx:pt>
          <cx:pt idx="4445">2</cx:pt>
          <cx:pt idx="4446">2</cx:pt>
          <cx:pt idx="4447">3</cx:pt>
          <cx:pt idx="4448">1</cx:pt>
          <cx:pt idx="4449">1</cx:pt>
          <cx:pt idx="4450">1</cx:pt>
          <cx:pt idx="4451">1</cx:pt>
          <cx:pt idx="4452">1</cx:pt>
          <cx:pt idx="4453">2</cx:pt>
          <cx:pt idx="4454">1</cx:pt>
          <cx:pt idx="4455">2</cx:pt>
          <cx:pt idx="4456">1</cx:pt>
          <cx:pt idx="4457">1</cx:pt>
          <cx:pt idx="4458">1</cx:pt>
          <cx:pt idx="4459">1</cx:pt>
          <cx:pt idx="4460">1</cx:pt>
          <cx:pt idx="4461">3</cx:pt>
          <cx:pt idx="4462">3</cx:pt>
          <cx:pt idx="4463">3</cx:pt>
          <cx:pt idx="4464">2</cx:pt>
          <cx:pt idx="4465">1</cx:pt>
          <cx:pt idx="4466">1</cx:pt>
          <cx:pt idx="4467">1</cx:pt>
          <cx:pt idx="4468">1</cx:pt>
          <cx:pt idx="4469">3</cx:pt>
          <cx:pt idx="4470">2</cx:pt>
          <cx:pt idx="4471">4</cx:pt>
          <cx:pt idx="4472">1</cx:pt>
          <cx:pt idx="4473">5</cx:pt>
          <cx:pt idx="4474">2</cx:pt>
          <cx:pt idx="4475">3</cx:pt>
          <cx:pt idx="4476">1</cx:pt>
          <cx:pt idx="4477">2</cx:pt>
          <cx:pt idx="4478">3</cx:pt>
          <cx:pt idx="4479">1</cx:pt>
          <cx:pt idx="4480">2</cx:pt>
          <cx:pt idx="4481">3</cx:pt>
          <cx:pt idx="4482">1</cx:pt>
          <cx:pt idx="4483">4</cx:pt>
          <cx:pt idx="4484">1</cx:pt>
          <cx:pt idx="4485">1</cx:pt>
          <cx:pt idx="4486">1</cx:pt>
          <cx:pt idx="4487">1</cx:pt>
          <cx:pt idx="4488">2</cx:pt>
          <cx:pt idx="4489">1</cx:pt>
          <cx:pt idx="4490">1</cx:pt>
          <cx:pt idx="4491">5</cx:pt>
          <cx:pt idx="4492">1</cx:pt>
          <cx:pt idx="4493">3</cx:pt>
          <cx:pt idx="4494">1</cx:pt>
          <cx:pt idx="4495">1</cx:pt>
          <cx:pt idx="4496">1</cx:pt>
          <cx:pt idx="4497">3</cx:pt>
          <cx:pt idx="4498">2</cx:pt>
          <cx:pt idx="4499">2</cx:pt>
          <cx:pt idx="4500">3</cx:pt>
          <cx:pt idx="4501">5</cx:pt>
          <cx:pt idx="4502">7</cx:pt>
          <cx:pt idx="4503">2</cx:pt>
          <cx:pt idx="4504">1</cx:pt>
          <cx:pt idx="4505">3</cx:pt>
          <cx:pt idx="4506">1</cx:pt>
          <cx:pt idx="4507">1</cx:pt>
          <cx:pt idx="4508">1</cx:pt>
          <cx:pt idx="4509">1</cx:pt>
          <cx:pt idx="4510">2</cx:pt>
          <cx:pt idx="4511">4</cx:pt>
          <cx:pt idx="4512">4</cx:pt>
          <cx:pt idx="4513">1</cx:pt>
          <cx:pt idx="4514">2</cx:pt>
          <cx:pt idx="4515">5</cx:pt>
          <cx:pt idx="4516">1</cx:pt>
          <cx:pt idx="4517">3</cx:pt>
          <cx:pt idx="4518">1</cx:pt>
          <cx:pt idx="4519">2</cx:pt>
          <cx:pt idx="4520">5</cx:pt>
          <cx:pt idx="4521">1</cx:pt>
          <cx:pt idx="4522">1</cx:pt>
          <cx:pt idx="4523">4</cx:pt>
          <cx:pt idx="4524">4</cx:pt>
          <cx:pt idx="4525">4</cx:pt>
          <cx:pt idx="4526">4</cx:pt>
          <cx:pt idx="4527">2</cx:pt>
          <cx:pt idx="4528">2</cx:pt>
          <cx:pt idx="4529">1</cx:pt>
          <cx:pt idx="4530">3</cx:pt>
          <cx:pt idx="4531">1</cx:pt>
          <cx:pt idx="4532">2</cx:pt>
          <cx:pt idx="4533">1</cx:pt>
          <cx:pt idx="4534">4</cx:pt>
          <cx:pt idx="4535">1</cx:pt>
          <cx:pt idx="4536">1</cx:pt>
          <cx:pt idx="4537">1</cx:pt>
          <cx:pt idx="4538">4</cx:pt>
          <cx:pt idx="4539">5</cx:pt>
          <cx:pt idx="4540">4</cx:pt>
          <cx:pt idx="4541">3</cx:pt>
          <cx:pt idx="4542">2</cx:pt>
          <cx:pt idx="4543">3</cx:pt>
          <cx:pt idx="4544">1</cx:pt>
          <cx:pt idx="4545">4</cx:pt>
          <cx:pt idx="4546">1</cx:pt>
          <cx:pt idx="4547">6</cx:pt>
          <cx:pt idx="4548">1</cx:pt>
          <cx:pt idx="4549">1</cx:pt>
          <cx:pt idx="4550">3</cx:pt>
          <cx:pt idx="4551">5</cx:pt>
          <cx:pt idx="4552">2</cx:pt>
          <cx:pt idx="4553">2</cx:pt>
          <cx:pt idx="4554">2</cx:pt>
          <cx:pt idx="4555">1</cx:pt>
          <cx:pt idx="4556">2</cx:pt>
          <cx:pt idx="4557">2</cx:pt>
          <cx:pt idx="4558">3</cx:pt>
          <cx:pt idx="4559">1</cx:pt>
          <cx:pt idx="4560">1</cx:pt>
          <cx:pt idx="4561">2</cx:pt>
          <cx:pt idx="4562">1</cx:pt>
          <cx:pt idx="4563">7</cx:pt>
          <cx:pt idx="4564">1</cx:pt>
          <cx:pt idx="4565">1</cx:pt>
          <cx:pt idx="4566">1</cx:pt>
          <cx:pt idx="4567">5</cx:pt>
          <cx:pt idx="4568">1</cx:pt>
          <cx:pt idx="4569">5</cx:pt>
          <cx:pt idx="4570">7</cx:pt>
          <cx:pt idx="4571">3</cx:pt>
          <cx:pt idx="4572">4</cx:pt>
          <cx:pt idx="4573">2</cx:pt>
          <cx:pt idx="4574">5</cx:pt>
          <cx:pt idx="4575">1</cx:pt>
          <cx:pt idx="4576">1</cx:pt>
          <cx:pt idx="4577">3</cx:pt>
          <cx:pt idx="4578">2</cx:pt>
          <cx:pt idx="4579">3</cx:pt>
          <cx:pt idx="4580">1</cx:pt>
          <cx:pt idx="4581">1</cx:pt>
          <cx:pt idx="4582">4</cx:pt>
          <cx:pt idx="4583">3</cx:pt>
          <cx:pt idx="4584">1</cx:pt>
          <cx:pt idx="4585">1</cx:pt>
          <cx:pt idx="4586">1</cx:pt>
          <cx:pt idx="4587">2</cx:pt>
          <cx:pt idx="4588">1</cx:pt>
          <cx:pt idx="4589">1</cx:pt>
          <cx:pt idx="4590">1</cx:pt>
          <cx:pt idx="4591">2</cx:pt>
          <cx:pt idx="4592">2</cx:pt>
          <cx:pt idx="4593">1</cx:pt>
          <cx:pt idx="4594">1</cx:pt>
          <cx:pt idx="4595">1</cx:pt>
          <cx:pt idx="4596">2</cx:pt>
          <cx:pt idx="4597">1</cx:pt>
          <cx:pt idx="4598">3</cx:pt>
          <cx:pt idx="4599">1</cx:pt>
          <cx:pt idx="4600">2</cx:pt>
          <cx:pt idx="4601">4</cx:pt>
          <cx:pt idx="4602">2</cx:pt>
          <cx:pt idx="4603">1</cx:pt>
          <cx:pt idx="4604">3</cx:pt>
          <cx:pt idx="4605">4</cx:pt>
          <cx:pt idx="4606">5</cx:pt>
          <cx:pt idx="4607">2</cx:pt>
          <cx:pt idx="4608">2</cx:pt>
          <cx:pt idx="4609">1</cx:pt>
          <cx:pt idx="4610">2</cx:pt>
          <cx:pt idx="4611">5</cx:pt>
          <cx:pt idx="4612">3</cx:pt>
          <cx:pt idx="4613">2</cx:pt>
          <cx:pt idx="4614">2</cx:pt>
          <cx:pt idx="4615">1</cx:pt>
          <cx:pt idx="4616">2</cx:pt>
          <cx:pt idx="4617">1</cx:pt>
          <cx:pt idx="4618">4</cx:pt>
          <cx:pt idx="4619">5</cx:pt>
          <cx:pt idx="4620">4</cx:pt>
          <cx:pt idx="4621">2</cx:pt>
          <cx:pt idx="4622">3</cx:pt>
          <cx:pt idx="4623">4</cx:pt>
          <cx:pt idx="4624">2</cx:pt>
          <cx:pt idx="4625">4</cx:pt>
          <cx:pt idx="4626">1</cx:pt>
          <cx:pt idx="4627">3</cx:pt>
          <cx:pt idx="4628">1</cx:pt>
          <cx:pt idx="4629">6</cx:pt>
          <cx:pt idx="4630">3</cx:pt>
          <cx:pt idx="4631">2</cx:pt>
          <cx:pt idx="4632">3</cx:pt>
          <cx:pt idx="4633">2</cx:pt>
          <cx:pt idx="4634">3</cx:pt>
          <cx:pt idx="4635">4</cx:pt>
          <cx:pt idx="4636">2</cx:pt>
          <cx:pt idx="4637">1</cx:pt>
          <cx:pt idx="4638">4</cx:pt>
          <cx:pt idx="4639">5</cx:pt>
          <cx:pt idx="4640">2</cx:pt>
          <cx:pt idx="4641">1</cx:pt>
          <cx:pt idx="4642">1</cx:pt>
          <cx:pt idx="4643">1</cx:pt>
          <cx:pt idx="4644">1</cx:pt>
          <cx:pt idx="4645">1</cx:pt>
          <cx:pt idx="4646">1</cx:pt>
          <cx:pt idx="4647">1</cx:pt>
          <cx:pt idx="4648">3</cx:pt>
          <cx:pt idx="4649">1</cx:pt>
          <cx:pt idx="4650">1</cx:pt>
          <cx:pt idx="4651">3</cx:pt>
          <cx:pt idx="4652">4</cx:pt>
          <cx:pt idx="4653">3</cx:pt>
          <cx:pt idx="4654">1</cx:pt>
          <cx:pt idx="4655">1</cx:pt>
          <cx:pt idx="4656">2</cx:pt>
          <cx:pt idx="4657">2</cx:pt>
          <cx:pt idx="4658">1</cx:pt>
          <cx:pt idx="4659">2</cx:pt>
          <cx:pt idx="4660">3</cx:pt>
          <cx:pt idx="4661">2</cx:pt>
          <cx:pt idx="4662">1</cx:pt>
          <cx:pt idx="4663">1</cx:pt>
          <cx:pt idx="4664">1</cx:pt>
          <cx:pt idx="4665">1</cx:pt>
          <cx:pt idx="4666">1</cx:pt>
          <cx:pt idx="4667">2</cx:pt>
          <cx:pt idx="4668">1</cx:pt>
          <cx:pt idx="4669">2</cx:pt>
          <cx:pt idx="4670">1</cx:pt>
          <cx:pt idx="4671">1</cx:pt>
          <cx:pt idx="4672">2</cx:pt>
          <cx:pt idx="4673">3</cx:pt>
          <cx:pt idx="4674">1</cx:pt>
          <cx:pt idx="4675">1</cx:pt>
          <cx:pt idx="4676">2</cx:pt>
          <cx:pt idx="4677">2</cx:pt>
          <cx:pt idx="4678">1</cx:pt>
          <cx:pt idx="4679">1</cx:pt>
          <cx:pt idx="4680">2</cx:pt>
          <cx:pt idx="4681">1</cx:pt>
          <cx:pt idx="4682">2</cx:pt>
          <cx:pt idx="4683">3</cx:pt>
          <cx:pt idx="4684">2</cx:pt>
          <cx:pt idx="4685">2</cx:pt>
          <cx:pt idx="4686">2</cx:pt>
          <cx:pt idx="4687">2</cx:pt>
          <cx:pt idx="4688">3</cx:pt>
          <cx:pt idx="4689">2</cx:pt>
          <cx:pt idx="4690">1</cx:pt>
          <cx:pt idx="4691">1</cx:pt>
          <cx:pt idx="4692">2</cx:pt>
          <cx:pt idx="4693">1</cx:pt>
          <cx:pt idx="4694">2</cx:pt>
          <cx:pt idx="4695">1</cx:pt>
          <cx:pt idx="4696">2</cx:pt>
          <cx:pt idx="4697">2</cx:pt>
          <cx:pt idx="4698">2</cx:pt>
          <cx:pt idx="4699">4</cx:pt>
          <cx:pt idx="4700">5</cx:pt>
          <cx:pt idx="4701">1</cx:pt>
          <cx:pt idx="4702">2</cx:pt>
          <cx:pt idx="4703">3</cx:pt>
          <cx:pt idx="4704">5</cx:pt>
          <cx:pt idx="4705">1</cx:pt>
          <cx:pt idx="4706">4</cx:pt>
          <cx:pt idx="4707">1</cx:pt>
          <cx:pt idx="4708">5</cx:pt>
          <cx:pt idx="4709">3</cx:pt>
          <cx:pt idx="4710">2</cx:pt>
          <cx:pt idx="4711">3</cx:pt>
          <cx:pt idx="4712">3</cx:pt>
          <cx:pt idx="4713">2</cx:pt>
          <cx:pt idx="4714">1</cx:pt>
          <cx:pt idx="4715">1</cx:pt>
          <cx:pt idx="4716">1</cx:pt>
          <cx:pt idx="4717">3</cx:pt>
          <cx:pt idx="4718">1</cx:pt>
          <cx:pt idx="4719">1</cx:pt>
          <cx:pt idx="4720">1</cx:pt>
          <cx:pt idx="4721">1</cx:pt>
          <cx:pt idx="4722">3</cx:pt>
          <cx:pt idx="4723">1</cx:pt>
          <cx:pt idx="4724">1</cx:pt>
          <cx:pt idx="4725">1</cx:pt>
          <cx:pt idx="4726">1</cx:pt>
          <cx:pt idx="4727">1</cx:pt>
          <cx:pt idx="4728">5</cx:pt>
          <cx:pt idx="4729">1</cx:pt>
          <cx:pt idx="4730">2</cx:pt>
          <cx:pt idx="4731">1</cx:pt>
          <cx:pt idx="4732">1</cx:pt>
          <cx:pt idx="4733">2</cx:pt>
          <cx:pt idx="4734">3</cx:pt>
          <cx:pt idx="4735">1</cx:pt>
          <cx:pt idx="4736">4</cx:pt>
          <cx:pt idx="4737">2</cx:pt>
          <cx:pt idx="4738">3</cx:pt>
          <cx:pt idx="4739">3</cx:pt>
          <cx:pt idx="4740">2</cx:pt>
          <cx:pt idx="4741">1</cx:pt>
          <cx:pt idx="4742">2</cx:pt>
          <cx:pt idx="4743">4</cx:pt>
          <cx:pt idx="4744">4</cx:pt>
          <cx:pt idx="4745">2</cx:pt>
          <cx:pt idx="4746">2</cx:pt>
          <cx:pt idx="4747">1</cx:pt>
          <cx:pt idx="4748">4</cx:pt>
          <cx:pt idx="4749">2</cx:pt>
          <cx:pt idx="4750">2</cx:pt>
          <cx:pt idx="4751">5</cx:pt>
          <cx:pt idx="4752">5</cx:pt>
          <cx:pt idx="4753">3</cx:pt>
          <cx:pt idx="4754">1</cx:pt>
          <cx:pt idx="4755">2</cx:pt>
          <cx:pt idx="4756">5</cx:pt>
          <cx:pt idx="4757">2</cx:pt>
          <cx:pt idx="4758">2</cx:pt>
          <cx:pt idx="4759">3</cx:pt>
          <cx:pt idx="4760">2</cx:pt>
          <cx:pt idx="4761">5</cx:pt>
          <cx:pt idx="4762">2</cx:pt>
          <cx:pt idx="4763">1</cx:pt>
          <cx:pt idx="4764">1</cx:pt>
          <cx:pt idx="4765">2</cx:pt>
          <cx:pt idx="4766">3</cx:pt>
          <cx:pt idx="4767">1</cx:pt>
          <cx:pt idx="4768">1</cx:pt>
          <cx:pt idx="4769">2</cx:pt>
          <cx:pt idx="4770">1</cx:pt>
          <cx:pt idx="4771">3</cx:pt>
          <cx:pt idx="4772">3</cx:pt>
          <cx:pt idx="4773">1</cx:pt>
          <cx:pt idx="4774">4</cx:pt>
          <cx:pt idx="4775">1</cx:pt>
          <cx:pt idx="4776">2</cx:pt>
          <cx:pt idx="4777">5</cx:pt>
          <cx:pt idx="4778">1</cx:pt>
          <cx:pt idx="4779">1</cx:pt>
          <cx:pt idx="4780">2</cx:pt>
          <cx:pt idx="4781">1</cx:pt>
          <cx:pt idx="4782">2</cx:pt>
          <cx:pt idx="4783">2</cx:pt>
          <cx:pt idx="4784">2</cx:pt>
          <cx:pt idx="4785">2</cx:pt>
          <cx:pt idx="4786">3</cx:pt>
          <cx:pt idx="4787">1</cx:pt>
          <cx:pt idx="4788">1</cx:pt>
          <cx:pt idx="4789">4</cx:pt>
          <cx:pt idx="4790">1</cx:pt>
          <cx:pt idx="4791">1</cx:pt>
          <cx:pt idx="4792">2</cx:pt>
          <cx:pt idx="4793">1</cx:pt>
          <cx:pt idx="4794">2</cx:pt>
          <cx:pt idx="4795">3</cx:pt>
          <cx:pt idx="4796">2</cx:pt>
          <cx:pt idx="4797">4</cx:pt>
          <cx:pt idx="4798">8</cx:pt>
          <cx:pt idx="4799">4</cx:pt>
          <cx:pt idx="4800">1</cx:pt>
          <cx:pt idx="4801">3</cx:pt>
          <cx:pt idx="4802">4</cx:pt>
          <cx:pt idx="4803">2</cx:pt>
          <cx:pt idx="4804">1</cx:pt>
          <cx:pt idx="4805">1</cx:pt>
          <cx:pt idx="4806">1</cx:pt>
          <cx:pt idx="4807">1</cx:pt>
          <cx:pt idx="4808">4</cx:pt>
          <cx:pt idx="4809">1</cx:pt>
          <cx:pt idx="4810">3</cx:pt>
          <cx:pt idx="4811">3</cx:pt>
          <cx:pt idx="4812">1</cx:pt>
          <cx:pt idx="4813">3</cx:pt>
          <cx:pt idx="4814">2</cx:pt>
          <cx:pt idx="4815">3</cx:pt>
          <cx:pt idx="4816">2</cx:pt>
          <cx:pt idx="4817">1</cx:pt>
          <cx:pt idx="4818">2</cx:pt>
          <cx:pt idx="4819">2</cx:pt>
          <cx:pt idx="4820">1</cx:pt>
          <cx:pt idx="4821">1</cx:pt>
          <cx:pt idx="4822">2</cx:pt>
          <cx:pt idx="4823">1</cx:pt>
          <cx:pt idx="4824">1</cx:pt>
          <cx:pt idx="4825">1</cx:pt>
          <cx:pt idx="4826">5</cx:pt>
          <cx:pt idx="4827">3</cx:pt>
          <cx:pt idx="4828">1</cx:pt>
          <cx:pt idx="4829">1</cx:pt>
          <cx:pt idx="4830">3</cx:pt>
          <cx:pt idx="4831">4</cx:pt>
          <cx:pt idx="4832">3</cx:pt>
          <cx:pt idx="4833">5</cx:pt>
          <cx:pt idx="4834">1</cx:pt>
          <cx:pt idx="4835">1</cx:pt>
          <cx:pt idx="4836">2</cx:pt>
          <cx:pt idx="4837">1</cx:pt>
          <cx:pt idx="4838">3</cx:pt>
          <cx:pt idx="4839">2</cx:pt>
          <cx:pt idx="4840">1</cx:pt>
          <cx:pt idx="4841">1</cx:pt>
          <cx:pt idx="4842">2</cx:pt>
          <cx:pt idx="4843">1</cx:pt>
          <cx:pt idx="4844">1</cx:pt>
          <cx:pt idx="4845">3</cx:pt>
          <cx:pt idx="4846">3</cx:pt>
          <cx:pt idx="4847">4</cx:pt>
          <cx:pt idx="4848">2</cx:pt>
          <cx:pt idx="4849">4</cx:pt>
          <cx:pt idx="4850">2</cx:pt>
          <cx:pt idx="4851">2</cx:pt>
          <cx:pt idx="4852">2</cx:pt>
          <cx:pt idx="4853">1</cx:pt>
          <cx:pt idx="4854">3</cx:pt>
          <cx:pt idx="4855">1</cx:pt>
          <cx:pt idx="4856">2</cx:pt>
          <cx:pt idx="4857">1</cx:pt>
          <cx:pt idx="4858">1</cx:pt>
          <cx:pt idx="4859">1</cx:pt>
          <cx:pt idx="4860">1</cx:pt>
          <cx:pt idx="4861">1</cx:pt>
          <cx:pt idx="4862">2</cx:pt>
          <cx:pt idx="4863">2</cx:pt>
          <cx:pt idx="4864">1</cx:pt>
          <cx:pt idx="4865">2</cx:pt>
          <cx:pt idx="4866">2</cx:pt>
          <cx:pt idx="4867">3</cx:pt>
          <cx:pt idx="4868">2</cx:pt>
          <cx:pt idx="4869">2</cx:pt>
          <cx:pt idx="4870">1</cx:pt>
          <cx:pt idx="4871">3</cx:pt>
          <cx:pt idx="4872">2</cx:pt>
          <cx:pt idx="4873">1</cx:pt>
          <cx:pt idx="4874">4</cx:pt>
          <cx:pt idx="4875">2</cx:pt>
          <cx:pt idx="4876">3</cx:pt>
          <cx:pt idx="4877">2</cx:pt>
          <cx:pt idx="4878">2</cx:pt>
          <cx:pt idx="4879">1</cx:pt>
          <cx:pt idx="4880">1</cx:pt>
          <cx:pt idx="4881">1</cx:pt>
          <cx:pt idx="4882">1</cx:pt>
          <cx:pt idx="4883">2</cx:pt>
          <cx:pt idx="4884">2</cx:pt>
          <cx:pt idx="4885">3</cx:pt>
          <cx:pt idx="4886">1</cx:pt>
          <cx:pt idx="4887">1</cx:pt>
          <cx:pt idx="4888">1</cx:pt>
          <cx:pt idx="4889">1</cx:pt>
          <cx:pt idx="4890">1</cx:pt>
          <cx:pt idx="4891">2</cx:pt>
          <cx:pt idx="4892">2</cx:pt>
          <cx:pt idx="4893">3</cx:pt>
          <cx:pt idx="4894">1</cx:pt>
          <cx:pt idx="4895">2</cx:pt>
          <cx:pt idx="4896">2</cx:pt>
          <cx:pt idx="4897">1</cx:pt>
          <cx:pt idx="4898">4</cx:pt>
          <cx:pt idx="4899">2</cx:pt>
          <cx:pt idx="4900">2</cx:pt>
          <cx:pt idx="4901">2</cx:pt>
          <cx:pt idx="4902">2</cx:pt>
          <cx:pt idx="4903">1</cx:pt>
          <cx:pt idx="4904">3</cx:pt>
          <cx:pt idx="4905">1</cx:pt>
          <cx:pt idx="4906">4</cx:pt>
          <cx:pt idx="4907">1</cx:pt>
          <cx:pt idx="4908">1</cx:pt>
          <cx:pt idx="4909">1</cx:pt>
          <cx:pt idx="4910">1</cx:pt>
          <cx:pt idx="4911">5</cx:pt>
          <cx:pt idx="4912">3</cx:pt>
          <cx:pt idx="4913">3</cx:pt>
          <cx:pt idx="4914">1</cx:pt>
          <cx:pt idx="4915">6</cx:pt>
          <cx:pt idx="4916">3</cx:pt>
          <cx:pt idx="4917">2</cx:pt>
          <cx:pt idx="4918">2</cx:pt>
          <cx:pt idx="4919">3</cx:pt>
          <cx:pt idx="4920">1</cx:pt>
          <cx:pt idx="4921">1</cx:pt>
          <cx:pt idx="4922">2</cx:pt>
          <cx:pt idx="4923">6</cx:pt>
          <cx:pt idx="4924">7</cx:pt>
          <cx:pt idx="4925">1</cx:pt>
          <cx:pt idx="4926">1</cx:pt>
          <cx:pt idx="4927">1</cx:pt>
          <cx:pt idx="4928">1</cx:pt>
          <cx:pt idx="4929">1</cx:pt>
          <cx:pt idx="4930">1</cx:pt>
          <cx:pt idx="4931">2</cx:pt>
          <cx:pt idx="4932">1</cx:pt>
          <cx:pt idx="4933">1</cx:pt>
          <cx:pt idx="4934">2</cx:pt>
          <cx:pt idx="4935">2</cx:pt>
          <cx:pt idx="4936">1</cx:pt>
          <cx:pt idx="4937">1</cx:pt>
          <cx:pt idx="4938">2</cx:pt>
          <cx:pt idx="4939">2</cx:pt>
          <cx:pt idx="4940">4</cx:pt>
          <cx:pt idx="4941">4</cx:pt>
          <cx:pt idx="4942">1</cx:pt>
          <cx:pt idx="4943">4</cx:pt>
          <cx:pt idx="4944">2</cx:pt>
          <cx:pt idx="4945">2</cx:pt>
          <cx:pt idx="4946">2</cx:pt>
          <cx:pt idx="4947">1</cx:pt>
          <cx:pt idx="4948">1</cx:pt>
          <cx:pt idx="4949">3</cx:pt>
          <cx:pt idx="4950">5</cx:pt>
          <cx:pt idx="4951">2</cx:pt>
          <cx:pt idx="4952">1</cx:pt>
          <cx:pt idx="4953">3</cx:pt>
          <cx:pt idx="4954">2</cx:pt>
          <cx:pt idx="4955">2</cx:pt>
          <cx:pt idx="4956">1</cx:pt>
          <cx:pt idx="4957">3</cx:pt>
          <cx:pt idx="4958">4</cx:pt>
          <cx:pt idx="4959">5</cx:pt>
          <cx:pt idx="4960">1</cx:pt>
          <cx:pt idx="4961">1</cx:pt>
          <cx:pt idx="4962">3</cx:pt>
          <cx:pt idx="4963">1</cx:pt>
          <cx:pt idx="4964">3</cx:pt>
          <cx:pt idx="4965">2</cx:pt>
          <cx:pt idx="4966">1</cx:pt>
          <cx:pt idx="4967">2</cx:pt>
          <cx:pt idx="4968">1</cx:pt>
          <cx:pt idx="4969">2</cx:pt>
          <cx:pt idx="4970">2</cx:pt>
          <cx:pt idx="4971">1</cx:pt>
          <cx:pt idx="4972">4</cx:pt>
          <cx:pt idx="4973">3</cx:pt>
          <cx:pt idx="4974">1</cx:pt>
          <cx:pt idx="4975">4</cx:pt>
          <cx:pt idx="4976">4</cx:pt>
          <cx:pt idx="4977">1</cx:pt>
          <cx:pt idx="4978">2</cx:pt>
          <cx:pt idx="4979">1</cx:pt>
          <cx:pt idx="4980">6</cx:pt>
          <cx:pt idx="4981">2</cx:pt>
          <cx:pt idx="4982">2</cx:pt>
          <cx:pt idx="4983">1</cx:pt>
          <cx:pt idx="4984">3</cx:pt>
          <cx:pt idx="4985">1</cx:pt>
          <cx:pt idx="4986">3</cx:pt>
          <cx:pt idx="4987">2</cx:pt>
          <cx:pt idx="4988">1</cx:pt>
          <cx:pt idx="4989">5</cx:pt>
          <cx:pt idx="4990">1</cx:pt>
          <cx:pt idx="4991">1</cx:pt>
          <cx:pt idx="4992">3</cx:pt>
          <cx:pt idx="4993">3</cx:pt>
          <cx:pt idx="4994">1</cx:pt>
          <cx:pt idx="4995">1</cx:pt>
          <cx:pt idx="4996">4</cx:pt>
          <cx:pt idx="4997">2</cx:pt>
          <cx:pt idx="4998">2</cx:pt>
          <cx:pt idx="4999">3</cx:pt>
          <cx:pt idx="5000">3</cx:pt>
          <cx:pt idx="5001">3</cx:pt>
          <cx:pt idx="5002">1</cx:pt>
          <cx:pt idx="5003">2</cx:pt>
          <cx:pt idx="5004">2</cx:pt>
          <cx:pt idx="5005">5</cx:pt>
          <cx:pt idx="5006">1</cx:pt>
          <cx:pt idx="5007">1</cx:pt>
          <cx:pt idx="5008">1</cx:pt>
          <cx:pt idx="5009">4</cx:pt>
          <cx:pt idx="5010">5</cx:pt>
          <cx:pt idx="5011">3</cx:pt>
          <cx:pt idx="5012">3</cx:pt>
          <cx:pt idx="5013">3</cx:pt>
          <cx:pt idx="5014">4</cx:pt>
          <cx:pt idx="5015">1</cx:pt>
          <cx:pt idx="5016">1</cx:pt>
          <cx:pt idx="5017">2</cx:pt>
          <cx:pt idx="5018">1</cx:pt>
          <cx:pt idx="5019">5</cx:pt>
          <cx:pt idx="5020">7</cx:pt>
          <cx:pt idx="5021">3</cx:pt>
          <cx:pt idx="5022">1</cx:pt>
          <cx:pt idx="5023">2</cx:pt>
          <cx:pt idx="5024">4</cx:pt>
          <cx:pt idx="5025">2</cx:pt>
          <cx:pt idx="5026">4</cx:pt>
          <cx:pt idx="5027">3</cx:pt>
          <cx:pt idx="5028">4</cx:pt>
          <cx:pt idx="5029">3</cx:pt>
          <cx:pt idx="5030">1</cx:pt>
          <cx:pt idx="5031">1</cx:pt>
          <cx:pt idx="5032">4</cx:pt>
          <cx:pt idx="5033">2</cx:pt>
          <cx:pt idx="5034">1</cx:pt>
          <cx:pt idx="5035">6</cx:pt>
          <cx:pt idx="5036">2</cx:pt>
          <cx:pt idx="5037">1</cx:pt>
          <cx:pt idx="5038">4</cx:pt>
          <cx:pt idx="5039">1</cx:pt>
          <cx:pt idx="5040">1</cx:pt>
          <cx:pt idx="5041">2</cx:pt>
          <cx:pt idx="5042">1</cx:pt>
          <cx:pt idx="5043">2</cx:pt>
          <cx:pt idx="5044">3</cx:pt>
          <cx:pt idx="5045">3</cx:pt>
          <cx:pt idx="5046">1</cx:pt>
          <cx:pt idx="5047">5</cx:pt>
          <cx:pt idx="5048">3</cx:pt>
          <cx:pt idx="5049">2</cx:pt>
          <cx:pt idx="5050">2</cx:pt>
          <cx:pt idx="5051">1</cx:pt>
          <cx:pt idx="5052">3</cx:pt>
          <cx:pt idx="5053">2</cx:pt>
          <cx:pt idx="5054">2</cx:pt>
          <cx:pt idx="5055">2</cx:pt>
          <cx:pt idx="5056">2</cx:pt>
          <cx:pt idx="5057">2</cx:pt>
          <cx:pt idx="5058">3</cx:pt>
          <cx:pt idx="5059">2</cx:pt>
          <cx:pt idx="5060">3</cx:pt>
          <cx:pt idx="5061">1</cx:pt>
          <cx:pt idx="5062">1</cx:pt>
          <cx:pt idx="5063">6</cx:pt>
          <cx:pt idx="5064">2</cx:pt>
          <cx:pt idx="5065">1</cx:pt>
          <cx:pt idx="5066">5</cx:pt>
          <cx:pt idx="5067">2</cx:pt>
          <cx:pt idx="5068">4</cx:pt>
          <cx:pt idx="5069">1</cx:pt>
          <cx:pt idx="5070">1</cx:pt>
          <cx:pt idx="5071">1</cx:pt>
          <cx:pt idx="5072">1</cx:pt>
          <cx:pt idx="5073">2</cx:pt>
          <cx:pt idx="5074">3</cx:pt>
          <cx:pt idx="5075">3</cx:pt>
          <cx:pt idx="5076">1</cx:pt>
          <cx:pt idx="5077">5</cx:pt>
          <cx:pt idx="5078">2</cx:pt>
          <cx:pt idx="5079">3</cx:pt>
          <cx:pt idx="5080">3</cx:pt>
          <cx:pt idx="5081">4</cx:pt>
          <cx:pt idx="5082">1</cx:pt>
          <cx:pt idx="5083">5</cx:pt>
          <cx:pt idx="5084">2</cx:pt>
          <cx:pt idx="5085">1</cx:pt>
          <cx:pt idx="5086">1</cx:pt>
          <cx:pt idx="5087">1</cx:pt>
          <cx:pt idx="5088">3</cx:pt>
          <cx:pt idx="5089">1</cx:pt>
          <cx:pt idx="5090">3</cx:pt>
          <cx:pt idx="5091">1</cx:pt>
          <cx:pt idx="5092">2</cx:pt>
          <cx:pt idx="5093">1</cx:pt>
          <cx:pt idx="5094">1</cx:pt>
          <cx:pt idx="5095">1</cx:pt>
          <cx:pt idx="5096">2</cx:pt>
          <cx:pt idx="5097">1</cx:pt>
          <cx:pt idx="5098">1</cx:pt>
          <cx:pt idx="5099">1</cx:pt>
          <cx:pt idx="5100">1</cx:pt>
          <cx:pt idx="5101">2</cx:pt>
          <cx:pt idx="5102">1</cx:pt>
          <cx:pt idx="5103">1</cx:pt>
          <cx:pt idx="5104">2</cx:pt>
          <cx:pt idx="5105">1</cx:pt>
          <cx:pt idx="5106">3</cx:pt>
          <cx:pt idx="5107">4</cx:pt>
          <cx:pt idx="5108">1</cx:pt>
          <cx:pt idx="5109">1</cx:pt>
          <cx:pt idx="5110">1</cx:pt>
          <cx:pt idx="5111">1</cx:pt>
          <cx:pt idx="5112">4</cx:pt>
          <cx:pt idx="5113">1</cx:pt>
          <cx:pt idx="5114">1</cx:pt>
          <cx:pt idx="5115">1</cx:pt>
          <cx:pt idx="5116">1</cx:pt>
          <cx:pt idx="5117">4</cx:pt>
          <cx:pt idx="5118">5</cx:pt>
          <cx:pt idx="5119">1</cx:pt>
          <cx:pt idx="5120">1</cx:pt>
          <cx:pt idx="5121">7</cx:pt>
          <cx:pt idx="5122">2</cx:pt>
          <cx:pt idx="5123">2</cx:pt>
          <cx:pt idx="5124">3</cx:pt>
          <cx:pt idx="5125">2</cx:pt>
          <cx:pt idx="5126">4</cx:pt>
          <cx:pt idx="5127">1</cx:pt>
          <cx:pt idx="5128">3</cx:pt>
          <cx:pt idx="5129">3</cx:pt>
          <cx:pt idx="5130">2</cx:pt>
          <cx:pt idx="5131">1</cx:pt>
          <cx:pt idx="5132">2</cx:pt>
          <cx:pt idx="5133">2</cx:pt>
          <cx:pt idx="5134">2</cx:pt>
          <cx:pt idx="5135">1</cx:pt>
          <cx:pt idx="5136">2</cx:pt>
          <cx:pt idx="5137">2</cx:pt>
          <cx:pt idx="5138">3</cx:pt>
          <cx:pt idx="5139">2</cx:pt>
          <cx:pt idx="5140">1</cx:pt>
          <cx:pt idx="5141">2</cx:pt>
          <cx:pt idx="5142">2</cx:pt>
          <cx:pt idx="5143">2</cx:pt>
          <cx:pt idx="5144">1</cx:pt>
          <cx:pt idx="5145">1</cx:pt>
          <cx:pt idx="5146">2</cx:pt>
          <cx:pt idx="5147">1</cx:pt>
          <cx:pt idx="5148">2</cx:pt>
          <cx:pt idx="5149">3</cx:pt>
          <cx:pt idx="5150">1</cx:pt>
          <cx:pt idx="5151">2</cx:pt>
          <cx:pt idx="5152">1</cx:pt>
          <cx:pt idx="5153">1</cx:pt>
          <cx:pt idx="5154">1</cx:pt>
          <cx:pt idx="5155">1</cx:pt>
          <cx:pt idx="5156">1</cx:pt>
          <cx:pt idx="5157">2</cx:pt>
          <cx:pt idx="5158">1</cx:pt>
          <cx:pt idx="5159">1</cx:pt>
          <cx:pt idx="5160">1</cx:pt>
          <cx:pt idx="5161">1</cx:pt>
          <cx:pt idx="5162">4</cx:pt>
          <cx:pt idx="5163">1</cx:pt>
          <cx:pt idx="5164">1</cx:pt>
          <cx:pt idx="5165">4</cx:pt>
          <cx:pt idx="5166">3</cx:pt>
          <cx:pt idx="5167">1</cx:pt>
          <cx:pt idx="5168">1</cx:pt>
          <cx:pt idx="5169">1</cx:pt>
          <cx:pt idx="5170">1</cx:pt>
          <cx:pt idx="5171">3</cx:pt>
          <cx:pt idx="5172">2</cx:pt>
          <cx:pt idx="5173">3</cx:pt>
          <cx:pt idx="5174">3</cx:pt>
          <cx:pt idx="5175">4</cx:pt>
          <cx:pt idx="5176">3</cx:pt>
          <cx:pt idx="5177">1</cx:pt>
          <cx:pt idx="5178">1</cx:pt>
          <cx:pt idx="5179">1</cx:pt>
          <cx:pt idx="5180">1</cx:pt>
          <cx:pt idx="5181">1</cx:pt>
          <cx:pt idx="5182">2</cx:pt>
          <cx:pt idx="5183">2</cx:pt>
          <cx:pt idx="5184">1</cx:pt>
          <cx:pt idx="5185">1</cx:pt>
          <cx:pt idx="5186">2</cx:pt>
          <cx:pt idx="5187">1</cx:pt>
          <cx:pt idx="5188">2</cx:pt>
          <cx:pt idx="5189">1</cx:pt>
          <cx:pt idx="5190">1</cx:pt>
          <cx:pt idx="5191">5</cx:pt>
          <cx:pt idx="5192">1</cx:pt>
          <cx:pt idx="5193">1</cx:pt>
          <cx:pt idx="5194">3</cx:pt>
          <cx:pt idx="5195">1</cx:pt>
          <cx:pt idx="5196">2</cx:pt>
          <cx:pt idx="5197">4</cx:pt>
          <cx:pt idx="5198">5</cx:pt>
          <cx:pt idx="5199">5</cx:pt>
          <cx:pt idx="5200">1</cx:pt>
          <cx:pt idx="5201">3</cx:pt>
          <cx:pt idx="5202">4</cx:pt>
          <cx:pt idx="5203">3</cx:pt>
          <cx:pt idx="5204">2</cx:pt>
          <cx:pt idx="5205">1</cx:pt>
          <cx:pt idx="5206">3</cx:pt>
          <cx:pt idx="5207">2</cx:pt>
          <cx:pt idx="5208">2</cx:pt>
          <cx:pt idx="5209">1</cx:pt>
          <cx:pt idx="5210">2</cx:pt>
          <cx:pt idx="5211">2</cx:pt>
          <cx:pt idx="5212">2</cx:pt>
          <cx:pt idx="5213">3</cx:pt>
          <cx:pt idx="5214">1</cx:pt>
          <cx:pt idx="5215">3</cx:pt>
          <cx:pt idx="5216">2</cx:pt>
          <cx:pt idx="5217">1</cx:pt>
          <cx:pt idx="5218">3</cx:pt>
          <cx:pt idx="5219">4</cx:pt>
          <cx:pt idx="5220">3</cx:pt>
          <cx:pt idx="5221">3</cx:pt>
          <cx:pt idx="5222">3</cx:pt>
          <cx:pt idx="5223">2</cx:pt>
          <cx:pt idx="5224">3</cx:pt>
          <cx:pt idx="5225">1</cx:pt>
          <cx:pt idx="5226">1</cx:pt>
          <cx:pt idx="5227">2</cx:pt>
          <cx:pt idx="5228">2</cx:pt>
          <cx:pt idx="5229">2</cx:pt>
          <cx:pt idx="5230">2</cx:pt>
          <cx:pt idx="5231">3</cx:pt>
          <cx:pt idx="5232">3</cx:pt>
          <cx:pt idx="5233">2</cx:pt>
          <cx:pt idx="5234">1</cx:pt>
          <cx:pt idx="5235">2</cx:pt>
          <cx:pt idx="5236">1</cx:pt>
          <cx:pt idx="5237">1</cx:pt>
          <cx:pt idx="5238">2</cx:pt>
          <cx:pt idx="5239">2</cx:pt>
          <cx:pt idx="5240">2</cx:pt>
          <cx:pt idx="5241">1</cx:pt>
          <cx:pt idx="5242">3</cx:pt>
          <cx:pt idx="5243">5</cx:pt>
          <cx:pt idx="5244">2</cx:pt>
          <cx:pt idx="5245">1</cx:pt>
          <cx:pt idx="5246">1</cx:pt>
          <cx:pt idx="5247">4</cx:pt>
          <cx:pt idx="5248">2</cx:pt>
          <cx:pt idx="5249">2</cx:pt>
          <cx:pt idx="5250">1</cx:pt>
          <cx:pt idx="5251">1</cx:pt>
          <cx:pt idx="5252">1</cx:pt>
          <cx:pt idx="5253">3</cx:pt>
          <cx:pt idx="5254">3</cx:pt>
          <cx:pt idx="5255">3</cx:pt>
          <cx:pt idx="5256">2</cx:pt>
          <cx:pt idx="5257">3</cx:pt>
          <cx:pt idx="5258">1</cx:pt>
          <cx:pt idx="5259">5</cx:pt>
          <cx:pt idx="5260">1</cx:pt>
          <cx:pt idx="5261">1</cx:pt>
          <cx:pt idx="5262">2</cx:pt>
          <cx:pt idx="5263">1</cx:pt>
          <cx:pt idx="5264">4</cx:pt>
          <cx:pt idx="5265">3</cx:pt>
          <cx:pt idx="5266">5</cx:pt>
          <cx:pt idx="5267">1</cx:pt>
          <cx:pt idx="5268">1</cx:pt>
          <cx:pt idx="5269">2</cx:pt>
          <cx:pt idx="5270">2</cx:pt>
          <cx:pt idx="5271">2</cx:pt>
          <cx:pt idx="5272">1</cx:pt>
          <cx:pt idx="5273">2</cx:pt>
          <cx:pt idx="5274">2</cx:pt>
          <cx:pt idx="5275">2</cx:pt>
          <cx:pt idx="5276">1</cx:pt>
          <cx:pt idx="5277">1</cx:pt>
          <cx:pt idx="5278">4</cx:pt>
          <cx:pt idx="5279">1</cx:pt>
          <cx:pt idx="5280">2</cx:pt>
          <cx:pt idx="5281">3</cx:pt>
          <cx:pt idx="5282">1</cx:pt>
          <cx:pt idx="5283">4</cx:pt>
          <cx:pt idx="5284">1</cx:pt>
          <cx:pt idx="5285">4</cx:pt>
          <cx:pt idx="5286">3</cx:pt>
          <cx:pt idx="5287">1</cx:pt>
          <cx:pt idx="5288">1</cx:pt>
          <cx:pt idx="5289">1</cx:pt>
          <cx:pt idx="5290">1</cx:pt>
          <cx:pt idx="5291">2</cx:pt>
          <cx:pt idx="5292">3</cx:pt>
          <cx:pt idx="5293">2</cx:pt>
          <cx:pt idx="5294">1</cx:pt>
          <cx:pt idx="5295">3</cx:pt>
          <cx:pt idx="5296">2</cx:pt>
          <cx:pt idx="5297">1</cx:pt>
          <cx:pt idx="5298">2</cx:pt>
          <cx:pt idx="5299">5</cx:pt>
          <cx:pt idx="5300">3</cx:pt>
          <cx:pt idx="5301">4</cx:pt>
          <cx:pt idx="5302">8</cx:pt>
          <cx:pt idx="5303">2</cx:pt>
          <cx:pt idx="5304">3</cx:pt>
          <cx:pt idx="5305">3</cx:pt>
          <cx:pt idx="5306">1</cx:pt>
          <cx:pt idx="5307">6</cx:pt>
          <cx:pt idx="5308">1</cx:pt>
          <cx:pt idx="5309">4</cx:pt>
          <cx:pt idx="5310">1</cx:pt>
          <cx:pt idx="5311">2</cx:pt>
          <cx:pt idx="5312">3</cx:pt>
          <cx:pt idx="5313">2</cx:pt>
          <cx:pt idx="5314">2</cx:pt>
          <cx:pt idx="5315">1</cx:pt>
          <cx:pt idx="5316">2</cx:pt>
          <cx:pt idx="5317">1</cx:pt>
          <cx:pt idx="5318">2</cx:pt>
          <cx:pt idx="5319">2</cx:pt>
          <cx:pt idx="5320">3</cx:pt>
          <cx:pt idx="5321">5</cx:pt>
          <cx:pt idx="5322">3</cx:pt>
          <cx:pt idx="5323">1</cx:pt>
          <cx:pt idx="5324">1</cx:pt>
          <cx:pt idx="5325">4</cx:pt>
          <cx:pt idx="5326">4</cx:pt>
          <cx:pt idx="5327">1</cx:pt>
          <cx:pt idx="5328">3</cx:pt>
          <cx:pt idx="5329">1</cx:pt>
          <cx:pt idx="5330">1</cx:pt>
          <cx:pt idx="5331">2</cx:pt>
          <cx:pt idx="5332">2</cx:pt>
          <cx:pt idx="5333">2</cx:pt>
          <cx:pt idx="5334">3</cx:pt>
          <cx:pt idx="5335">1</cx:pt>
          <cx:pt idx="5336">2</cx:pt>
          <cx:pt idx="5337">1</cx:pt>
          <cx:pt idx="5338">1</cx:pt>
          <cx:pt idx="5339">7</cx:pt>
          <cx:pt idx="5340">3</cx:pt>
          <cx:pt idx="5341">2</cx:pt>
          <cx:pt idx="5342">2</cx:pt>
          <cx:pt idx="5343">3</cx:pt>
          <cx:pt idx="5344">1</cx:pt>
          <cx:pt idx="5345">2</cx:pt>
          <cx:pt idx="5346">1</cx:pt>
          <cx:pt idx="5347">1</cx:pt>
          <cx:pt idx="5348">3</cx:pt>
          <cx:pt idx="5349">1</cx:pt>
          <cx:pt idx="5350">3</cx:pt>
          <cx:pt idx="5351">3</cx:pt>
          <cx:pt idx="5352">1</cx:pt>
          <cx:pt idx="5353">2</cx:pt>
          <cx:pt idx="5354">2</cx:pt>
          <cx:pt idx="5355">3</cx:pt>
          <cx:pt idx="5356">4</cx:pt>
          <cx:pt idx="5357">2</cx:pt>
          <cx:pt idx="5358">4</cx:pt>
          <cx:pt idx="5359">3</cx:pt>
          <cx:pt idx="5360">4</cx:pt>
          <cx:pt idx="5361">2</cx:pt>
          <cx:pt idx="5362">3</cx:pt>
          <cx:pt idx="5363">2</cx:pt>
          <cx:pt idx="5364">1</cx:pt>
          <cx:pt idx="5365">1</cx:pt>
          <cx:pt idx="5366">2</cx:pt>
          <cx:pt idx="5367">3</cx:pt>
          <cx:pt idx="5368">2</cx:pt>
          <cx:pt idx="5369">2</cx:pt>
          <cx:pt idx="5370">2</cx:pt>
          <cx:pt idx="5371">1</cx:pt>
          <cx:pt idx="5372">2</cx:pt>
          <cx:pt idx="5373">1</cx:pt>
          <cx:pt idx="5374">4</cx:pt>
          <cx:pt idx="5375">2</cx:pt>
          <cx:pt idx="5376">5</cx:pt>
          <cx:pt idx="5377">1</cx:pt>
          <cx:pt idx="5378">2</cx:pt>
          <cx:pt idx="5379">1</cx:pt>
          <cx:pt idx="5380">1</cx:pt>
          <cx:pt idx="5381">5</cx:pt>
          <cx:pt idx="5382">3</cx:pt>
          <cx:pt idx="5383">2</cx:pt>
          <cx:pt idx="5384">1</cx:pt>
          <cx:pt idx="5385">1</cx:pt>
          <cx:pt idx="5386">1</cx:pt>
          <cx:pt idx="5387">2</cx:pt>
          <cx:pt idx="5388">2</cx:pt>
          <cx:pt idx="5389">1</cx:pt>
          <cx:pt idx="5390">7</cx:pt>
          <cx:pt idx="5391">1</cx:pt>
          <cx:pt idx="5392">2</cx:pt>
          <cx:pt idx="5393">2</cx:pt>
          <cx:pt idx="5394">2</cx:pt>
          <cx:pt idx="5395">2</cx:pt>
          <cx:pt idx="5396">1</cx:pt>
          <cx:pt idx="5397">1</cx:pt>
          <cx:pt idx="5398">1</cx:pt>
          <cx:pt idx="5399">2</cx:pt>
          <cx:pt idx="5400">3</cx:pt>
          <cx:pt idx="5401">2</cx:pt>
          <cx:pt idx="5402">1</cx:pt>
          <cx:pt idx="5403">2</cx:pt>
          <cx:pt idx="5404">3</cx:pt>
          <cx:pt idx="5405">3</cx:pt>
          <cx:pt idx="5406">1</cx:pt>
          <cx:pt idx="5407">4</cx:pt>
          <cx:pt idx="5408">2</cx:pt>
          <cx:pt idx="5409">8</cx:pt>
          <cx:pt idx="5410">1</cx:pt>
          <cx:pt idx="5411">1</cx:pt>
          <cx:pt idx="5412">2</cx:pt>
          <cx:pt idx="5413">2</cx:pt>
          <cx:pt idx="5414">1</cx:pt>
          <cx:pt idx="5415">4</cx:pt>
          <cx:pt idx="5416">1</cx:pt>
          <cx:pt idx="5417">3</cx:pt>
          <cx:pt idx="5418">1</cx:pt>
          <cx:pt idx="5419">3</cx:pt>
          <cx:pt idx="5420">1</cx:pt>
          <cx:pt idx="5421">1</cx:pt>
          <cx:pt idx="5422">2</cx:pt>
          <cx:pt idx="5423">3</cx:pt>
          <cx:pt idx="5424">2</cx:pt>
          <cx:pt idx="5425">1</cx:pt>
          <cx:pt idx="5426">1</cx:pt>
          <cx:pt idx="5427">1</cx:pt>
          <cx:pt idx="5428">1</cx:pt>
          <cx:pt idx="5429">4</cx:pt>
          <cx:pt idx="5430">1</cx:pt>
          <cx:pt idx="5431">3</cx:pt>
          <cx:pt idx="5432">2</cx:pt>
          <cx:pt idx="5433">3</cx:pt>
          <cx:pt idx="5434">4</cx:pt>
          <cx:pt idx="5435">2</cx:pt>
          <cx:pt idx="5436">1</cx:pt>
          <cx:pt idx="5437">3</cx:pt>
          <cx:pt idx="5438">3</cx:pt>
          <cx:pt idx="5439">3</cx:pt>
          <cx:pt idx="5440">2</cx:pt>
          <cx:pt idx="5441">1</cx:pt>
          <cx:pt idx="5442">3</cx:pt>
          <cx:pt idx="5443">4</cx:pt>
          <cx:pt idx="5444">5</cx:pt>
          <cx:pt idx="5445">1</cx:pt>
          <cx:pt idx="5446">4</cx:pt>
          <cx:pt idx="5447">5</cx:pt>
          <cx:pt idx="5448">2</cx:pt>
          <cx:pt idx="5449">6</cx:pt>
          <cx:pt idx="5450">4</cx:pt>
          <cx:pt idx="5451">4</cx:pt>
          <cx:pt idx="5452">2</cx:pt>
          <cx:pt idx="5453">3</cx:pt>
          <cx:pt idx="5454">3</cx:pt>
          <cx:pt idx="5455">1</cx:pt>
          <cx:pt idx="5456">1</cx:pt>
          <cx:pt idx="5457">2</cx:pt>
          <cx:pt idx="5458">5</cx:pt>
          <cx:pt idx="5459">4</cx:pt>
          <cx:pt idx="5460">3</cx:pt>
          <cx:pt idx="5461">5</cx:pt>
          <cx:pt idx="5462">5</cx:pt>
          <cx:pt idx="5463">5</cx:pt>
          <cx:pt idx="5464">1</cx:pt>
          <cx:pt idx="5465">5</cx:pt>
          <cx:pt idx="5466">2</cx:pt>
          <cx:pt idx="5467">1</cx:pt>
          <cx:pt idx="5468">1</cx:pt>
          <cx:pt idx="5469">2</cx:pt>
          <cx:pt idx="5470">2</cx:pt>
          <cx:pt idx="5471">2</cx:pt>
          <cx:pt idx="5472">1</cx:pt>
          <cx:pt idx="5473">1</cx:pt>
          <cx:pt idx="5474">1</cx:pt>
          <cx:pt idx="5475">1</cx:pt>
          <cx:pt idx="5476">3</cx:pt>
          <cx:pt idx="5477">1</cx:pt>
          <cx:pt idx="5478">3</cx:pt>
          <cx:pt idx="5479">2</cx:pt>
          <cx:pt idx="5480">3</cx:pt>
          <cx:pt idx="5481">2</cx:pt>
          <cx:pt idx="5482">2</cx:pt>
          <cx:pt idx="5483">3</cx:pt>
          <cx:pt idx="5484">2</cx:pt>
          <cx:pt idx="5485">4</cx:pt>
          <cx:pt idx="5486">4</cx:pt>
          <cx:pt idx="5487">1</cx:pt>
          <cx:pt idx="5488">1</cx:pt>
          <cx:pt idx="5489">1</cx:pt>
          <cx:pt idx="5490">1</cx:pt>
          <cx:pt idx="5491">2</cx:pt>
          <cx:pt idx="5492">4</cx:pt>
          <cx:pt idx="5493">1</cx:pt>
          <cx:pt idx="5494">3</cx:pt>
          <cx:pt idx="5495">1</cx:pt>
          <cx:pt idx="5496">1</cx:pt>
          <cx:pt idx="5497">2</cx:pt>
          <cx:pt idx="5498">1</cx:pt>
          <cx:pt idx="5499">2</cx:pt>
          <cx:pt idx="5500">2</cx:pt>
          <cx:pt idx="5501">2</cx:pt>
          <cx:pt idx="5502">2</cx:pt>
          <cx:pt idx="5503">1</cx:pt>
          <cx:pt idx="5504">3</cx:pt>
          <cx:pt idx="5505">1</cx:pt>
          <cx:pt idx="5506">1</cx:pt>
          <cx:pt idx="5507">1</cx:pt>
          <cx:pt idx="5508">2</cx:pt>
          <cx:pt idx="5509">1</cx:pt>
          <cx:pt idx="5510">2</cx:pt>
          <cx:pt idx="5511">2</cx:pt>
          <cx:pt idx="5512">2</cx:pt>
          <cx:pt idx="5513">2</cx:pt>
          <cx:pt idx="5514">1</cx:pt>
          <cx:pt idx="5515">2</cx:pt>
          <cx:pt idx="5516">2</cx:pt>
          <cx:pt idx="5517">3</cx:pt>
          <cx:pt idx="5518">1</cx:pt>
          <cx:pt idx="5519">3</cx:pt>
          <cx:pt idx="5520">4</cx:pt>
          <cx:pt idx="5521">2</cx:pt>
          <cx:pt idx="5522">1</cx:pt>
          <cx:pt idx="5523">2</cx:pt>
          <cx:pt idx="5524">3</cx:pt>
          <cx:pt idx="5525">2</cx:pt>
          <cx:pt idx="5526">1</cx:pt>
          <cx:pt idx="5527">3</cx:pt>
          <cx:pt idx="5528">2</cx:pt>
          <cx:pt idx="5529">3</cx:pt>
          <cx:pt idx="5530">1</cx:pt>
          <cx:pt idx="5531">1</cx:pt>
          <cx:pt idx="5532">1</cx:pt>
          <cx:pt idx="5533">1</cx:pt>
          <cx:pt idx="5534">1</cx:pt>
          <cx:pt idx="5535">1</cx:pt>
          <cx:pt idx="5536">2</cx:pt>
          <cx:pt idx="5537">4</cx:pt>
          <cx:pt idx="5538">4</cx:pt>
          <cx:pt idx="5539">3</cx:pt>
          <cx:pt idx="5540">1</cx:pt>
          <cx:pt idx="5541">1</cx:pt>
          <cx:pt idx="5542">1</cx:pt>
          <cx:pt idx="5543">2</cx:pt>
          <cx:pt idx="5544">1</cx:pt>
          <cx:pt idx="5545">1</cx:pt>
          <cx:pt idx="5546">2</cx:pt>
          <cx:pt idx="5547">1</cx:pt>
          <cx:pt idx="5548">1</cx:pt>
          <cx:pt idx="5549">3</cx:pt>
          <cx:pt idx="5550">1</cx:pt>
          <cx:pt idx="5551">4</cx:pt>
          <cx:pt idx="5552">4</cx:pt>
          <cx:pt idx="5553">1</cx:pt>
          <cx:pt idx="5554">3</cx:pt>
          <cx:pt idx="5555">2</cx:pt>
          <cx:pt idx="5556">3</cx:pt>
          <cx:pt idx="5557">5</cx:pt>
          <cx:pt idx="5558">3</cx:pt>
          <cx:pt idx="5559">2</cx:pt>
          <cx:pt idx="5560">1</cx:pt>
          <cx:pt idx="5561">3</cx:pt>
          <cx:pt idx="5562">3</cx:pt>
          <cx:pt idx="5563">1</cx:pt>
          <cx:pt idx="5564">2</cx:pt>
          <cx:pt idx="5565">2</cx:pt>
          <cx:pt idx="5566">1</cx:pt>
          <cx:pt idx="5567">3</cx:pt>
          <cx:pt idx="5568">1</cx:pt>
          <cx:pt idx="5569">3</cx:pt>
          <cx:pt idx="5570">2</cx:pt>
          <cx:pt idx="5571">2</cx:pt>
          <cx:pt idx="5572">2</cx:pt>
          <cx:pt idx="5573">2</cx:pt>
          <cx:pt idx="5574">2</cx:pt>
          <cx:pt idx="5575">3</cx:pt>
          <cx:pt idx="5576">3</cx:pt>
          <cx:pt idx="5577">5</cx:pt>
          <cx:pt idx="5578">2</cx:pt>
          <cx:pt idx="5579">1</cx:pt>
          <cx:pt idx="5580">2</cx:pt>
          <cx:pt idx="5581">3</cx:pt>
          <cx:pt idx="5582">1</cx:pt>
          <cx:pt idx="5583">1</cx:pt>
          <cx:pt idx="5584">1</cx:pt>
          <cx:pt idx="5585">2</cx:pt>
          <cx:pt idx="5586">2</cx:pt>
          <cx:pt idx="5587">4</cx:pt>
          <cx:pt idx="5588">2</cx:pt>
          <cx:pt idx="5589">2</cx:pt>
          <cx:pt idx="5590">2</cx:pt>
          <cx:pt idx="5591">4</cx:pt>
          <cx:pt idx="5592">4</cx:pt>
          <cx:pt idx="5593">1</cx:pt>
          <cx:pt idx="5594">2</cx:pt>
          <cx:pt idx="5595">1</cx:pt>
          <cx:pt idx="5596">1</cx:pt>
          <cx:pt idx="5597">2</cx:pt>
          <cx:pt idx="5598">3</cx:pt>
          <cx:pt idx="5599">3</cx:pt>
          <cx:pt idx="5600">3</cx:pt>
          <cx:pt idx="5601">3</cx:pt>
          <cx:pt idx="5602">1</cx:pt>
          <cx:pt idx="5603">1</cx:pt>
          <cx:pt idx="5604">1</cx:pt>
          <cx:pt idx="5605">1</cx:pt>
          <cx:pt idx="5606">3</cx:pt>
          <cx:pt idx="5607">3</cx:pt>
          <cx:pt idx="5608">3</cx:pt>
          <cx:pt idx="5609">1</cx:pt>
          <cx:pt idx="5610">1</cx:pt>
          <cx:pt idx="5611">3</cx:pt>
          <cx:pt idx="5612">3</cx:pt>
          <cx:pt idx="5613">3</cx:pt>
          <cx:pt idx="5614">1</cx:pt>
          <cx:pt idx="5615">5</cx:pt>
          <cx:pt idx="5616">3</cx:pt>
          <cx:pt idx="5617">2</cx:pt>
          <cx:pt idx="5618">1</cx:pt>
          <cx:pt idx="5619">3</cx:pt>
          <cx:pt idx="5620">3</cx:pt>
          <cx:pt idx="5621">1</cx:pt>
          <cx:pt idx="5622">2</cx:pt>
          <cx:pt idx="5623">1</cx:pt>
          <cx:pt idx="5624">1</cx:pt>
          <cx:pt idx="5625">2</cx:pt>
          <cx:pt idx="5626">1</cx:pt>
          <cx:pt idx="5627">2</cx:pt>
          <cx:pt idx="5628">1</cx:pt>
          <cx:pt idx="5629">6</cx:pt>
          <cx:pt idx="5630">3</cx:pt>
          <cx:pt idx="5631">2</cx:pt>
          <cx:pt idx="5632">2</cx:pt>
          <cx:pt idx="5633">1</cx:pt>
          <cx:pt idx="5634">2</cx:pt>
          <cx:pt idx="5635">4</cx:pt>
          <cx:pt idx="5636">5</cx:pt>
          <cx:pt idx="5637">2</cx:pt>
          <cx:pt idx="5638">3</cx:pt>
          <cx:pt idx="5639">1</cx:pt>
          <cx:pt idx="5640">1</cx:pt>
          <cx:pt idx="5641">3</cx:pt>
          <cx:pt idx="5642">7</cx:pt>
          <cx:pt idx="5643">2</cx:pt>
          <cx:pt idx="5644">4</cx:pt>
          <cx:pt idx="5645">4</cx:pt>
          <cx:pt idx="5646">1</cx:pt>
          <cx:pt idx="5647">2</cx:pt>
          <cx:pt idx="5648">1</cx:pt>
          <cx:pt idx="5649">8</cx:pt>
          <cx:pt idx="5650">1</cx:pt>
          <cx:pt idx="5651">1</cx:pt>
          <cx:pt idx="5652">4</cx:pt>
          <cx:pt idx="5653">6</cx:pt>
          <cx:pt idx="5654">1</cx:pt>
          <cx:pt idx="5655">3</cx:pt>
          <cx:pt idx="5656">2</cx:pt>
          <cx:pt idx="5657">3</cx:pt>
          <cx:pt idx="5658">1</cx:pt>
          <cx:pt idx="5659">1</cx:pt>
          <cx:pt idx="5660">5</cx:pt>
          <cx:pt idx="5661">1</cx:pt>
          <cx:pt idx="5662">2</cx:pt>
          <cx:pt idx="5663">1</cx:pt>
          <cx:pt idx="5664">1</cx:pt>
          <cx:pt idx="5665">4</cx:pt>
          <cx:pt idx="5666">2</cx:pt>
          <cx:pt idx="5667">1</cx:pt>
          <cx:pt idx="5668">1</cx:pt>
          <cx:pt idx="5669">2</cx:pt>
          <cx:pt idx="5670">4</cx:pt>
          <cx:pt idx="5671">2</cx:pt>
          <cx:pt idx="5672">1</cx:pt>
          <cx:pt idx="5673">3</cx:pt>
          <cx:pt idx="5674">2</cx:pt>
          <cx:pt idx="5675">3</cx:pt>
          <cx:pt idx="5676">1</cx:pt>
          <cx:pt idx="5677">1</cx:pt>
          <cx:pt idx="5678">2</cx:pt>
          <cx:pt idx="5679">6</cx:pt>
          <cx:pt idx="5680">3</cx:pt>
          <cx:pt idx="5681">2</cx:pt>
          <cx:pt idx="5682">1</cx:pt>
          <cx:pt idx="5683">1</cx:pt>
          <cx:pt idx="5684">3</cx:pt>
          <cx:pt idx="5685">1</cx:pt>
          <cx:pt idx="5686">2</cx:pt>
          <cx:pt idx="5687">3</cx:pt>
          <cx:pt idx="5688">1</cx:pt>
          <cx:pt idx="5689">1</cx:pt>
          <cx:pt idx="5690">3</cx:pt>
          <cx:pt idx="5691">3</cx:pt>
          <cx:pt idx="5692">2</cx:pt>
          <cx:pt idx="5693">6</cx:pt>
          <cx:pt idx="5694">2</cx:pt>
          <cx:pt idx="5695">1</cx:pt>
          <cx:pt idx="5696">2</cx:pt>
          <cx:pt idx="5697">2</cx:pt>
          <cx:pt idx="5698">3</cx:pt>
          <cx:pt idx="5699">2</cx:pt>
          <cx:pt idx="5700">2</cx:pt>
          <cx:pt idx="5701">1</cx:pt>
          <cx:pt idx="5702">1</cx:pt>
          <cx:pt idx="5703">2</cx:pt>
          <cx:pt idx="5704">1</cx:pt>
          <cx:pt idx="5705">1</cx:pt>
          <cx:pt idx="5706">2</cx:pt>
          <cx:pt idx="5707">3</cx:pt>
          <cx:pt idx="5708">1</cx:pt>
          <cx:pt idx="5709">5</cx:pt>
          <cx:pt idx="5710">1</cx:pt>
          <cx:pt idx="5711">2</cx:pt>
          <cx:pt idx="5712">7</cx:pt>
          <cx:pt idx="5713">2</cx:pt>
          <cx:pt idx="5714">2</cx:pt>
          <cx:pt idx="5715">3</cx:pt>
          <cx:pt idx="5716">1</cx:pt>
          <cx:pt idx="5717">2</cx:pt>
          <cx:pt idx="5718">2</cx:pt>
          <cx:pt idx="5719">2</cx:pt>
          <cx:pt idx="5720">1</cx:pt>
          <cx:pt idx="5721">2</cx:pt>
          <cx:pt idx="5722">1</cx:pt>
          <cx:pt idx="5723">1</cx:pt>
          <cx:pt idx="5724">2</cx:pt>
          <cx:pt idx="5725">3</cx:pt>
          <cx:pt idx="5726">2</cx:pt>
          <cx:pt idx="5727">2</cx:pt>
          <cx:pt idx="5728">2</cx:pt>
          <cx:pt idx="5729">4</cx:pt>
          <cx:pt idx="5730">2</cx:pt>
          <cx:pt idx="5731">1</cx:pt>
          <cx:pt idx="5732">1</cx:pt>
          <cx:pt idx="5733">1</cx:pt>
          <cx:pt idx="5734">2</cx:pt>
          <cx:pt idx="5735">3</cx:pt>
          <cx:pt idx="5736">2</cx:pt>
          <cx:pt idx="5737">2</cx:pt>
          <cx:pt idx="5738">1</cx:pt>
          <cx:pt idx="5739">2</cx:pt>
          <cx:pt idx="5740">3</cx:pt>
          <cx:pt idx="5741">1</cx:pt>
          <cx:pt idx="5742">1</cx:pt>
          <cx:pt idx="5743">2</cx:pt>
          <cx:pt idx="5744">2</cx:pt>
          <cx:pt idx="5745">1</cx:pt>
          <cx:pt idx="5746">4</cx:pt>
          <cx:pt idx="5747">1</cx:pt>
          <cx:pt idx="5748">3</cx:pt>
          <cx:pt idx="5749">1</cx:pt>
          <cx:pt idx="5750">1</cx:pt>
          <cx:pt idx="5751">2</cx:pt>
          <cx:pt idx="5752">1</cx:pt>
          <cx:pt idx="5753">1</cx:pt>
          <cx:pt idx="5754">1</cx:pt>
          <cx:pt idx="5755">3</cx:pt>
          <cx:pt idx="5756">3</cx:pt>
          <cx:pt idx="5757">1</cx:pt>
          <cx:pt idx="5758">1</cx:pt>
          <cx:pt idx="5759">2</cx:pt>
          <cx:pt idx="5760">2</cx:pt>
          <cx:pt idx="5761">2</cx:pt>
          <cx:pt idx="5762">1</cx:pt>
          <cx:pt idx="5763">1</cx:pt>
          <cx:pt idx="5764">1</cx:pt>
          <cx:pt idx="5765">2</cx:pt>
          <cx:pt idx="5766">1</cx:pt>
          <cx:pt idx="5767">1</cx:pt>
          <cx:pt idx="5768">2</cx:pt>
          <cx:pt idx="5769">2</cx:pt>
          <cx:pt idx="5770">1</cx:pt>
          <cx:pt idx="5771">2</cx:pt>
          <cx:pt idx="5772">4</cx:pt>
          <cx:pt idx="5773">2</cx:pt>
          <cx:pt idx="5774">2</cx:pt>
          <cx:pt idx="5775">4</cx:pt>
          <cx:pt idx="5776">8</cx:pt>
          <cx:pt idx="5777">1</cx:pt>
          <cx:pt idx="5778">3</cx:pt>
          <cx:pt idx="5779">2</cx:pt>
          <cx:pt idx="5780">2</cx:pt>
          <cx:pt idx="5781">3</cx:pt>
          <cx:pt idx="5782">3</cx:pt>
          <cx:pt idx="5783">3</cx:pt>
          <cx:pt idx="5784">2</cx:pt>
          <cx:pt idx="5785">1</cx:pt>
          <cx:pt idx="5786">2</cx:pt>
          <cx:pt idx="5787">3</cx:pt>
          <cx:pt idx="5788">5</cx:pt>
          <cx:pt idx="5789">3</cx:pt>
          <cx:pt idx="5790">2</cx:pt>
          <cx:pt idx="5791">2</cx:pt>
          <cx:pt idx="5792">1</cx:pt>
          <cx:pt idx="5793">1</cx:pt>
          <cx:pt idx="5794">3</cx:pt>
          <cx:pt idx="5795">5</cx:pt>
          <cx:pt idx="5796">1</cx:pt>
          <cx:pt idx="5797">2</cx:pt>
          <cx:pt idx="5798">3</cx:pt>
          <cx:pt idx="5799">4</cx:pt>
          <cx:pt idx="5800">2</cx:pt>
          <cx:pt idx="5801">5</cx:pt>
          <cx:pt idx="5802">6</cx:pt>
          <cx:pt idx="5803">1</cx:pt>
          <cx:pt idx="5804">1</cx:pt>
          <cx:pt idx="5805">2</cx:pt>
          <cx:pt idx="5806">5</cx:pt>
          <cx:pt idx="5807">2</cx:pt>
          <cx:pt idx="5808">6</cx:pt>
          <cx:pt idx="5809">3</cx:pt>
          <cx:pt idx="5810">3</cx:pt>
          <cx:pt idx="5811">1</cx:pt>
          <cx:pt idx="5812">3</cx:pt>
          <cx:pt idx="5813">2</cx:pt>
          <cx:pt idx="5814">4</cx:pt>
          <cx:pt idx="5815">1</cx:pt>
          <cx:pt idx="5816">1</cx:pt>
          <cx:pt idx="5817">2</cx:pt>
          <cx:pt idx="5818">1</cx:pt>
          <cx:pt idx="5819">3</cx:pt>
          <cx:pt idx="5820">2</cx:pt>
          <cx:pt idx="5821">3</cx:pt>
          <cx:pt idx="5822">3</cx:pt>
          <cx:pt idx="5823">1</cx:pt>
          <cx:pt idx="5824">2</cx:pt>
          <cx:pt idx="5825">1</cx:pt>
          <cx:pt idx="5826">6</cx:pt>
          <cx:pt idx="5827">6</cx:pt>
          <cx:pt idx="5828">1</cx:pt>
          <cx:pt idx="5829">6</cx:pt>
          <cx:pt idx="5830">3</cx:pt>
          <cx:pt idx="5831">1</cx:pt>
          <cx:pt idx="5832">1</cx:pt>
          <cx:pt idx="5833">1</cx:pt>
          <cx:pt idx="5834">1</cx:pt>
          <cx:pt idx="5835">3</cx:pt>
          <cx:pt idx="5836">1</cx:pt>
          <cx:pt idx="5837">1</cx:pt>
          <cx:pt idx="5838">3</cx:pt>
          <cx:pt idx="5839">1</cx:pt>
          <cx:pt idx="5840">3</cx:pt>
          <cx:pt idx="5841">2</cx:pt>
          <cx:pt idx="5842">2</cx:pt>
          <cx:pt idx="5843">2</cx:pt>
          <cx:pt idx="5844">1</cx:pt>
          <cx:pt idx="5845">1</cx:pt>
          <cx:pt idx="5846">1</cx:pt>
          <cx:pt idx="5847">1</cx:pt>
          <cx:pt idx="5848">1</cx:pt>
          <cx:pt idx="5849">1</cx:pt>
          <cx:pt idx="5850">1</cx:pt>
          <cx:pt idx="5851">1</cx:pt>
          <cx:pt idx="5852">2</cx:pt>
          <cx:pt idx="5853">2</cx:pt>
          <cx:pt idx="5854">1</cx:pt>
          <cx:pt idx="5855">2</cx:pt>
          <cx:pt idx="5856">1</cx:pt>
          <cx:pt idx="5857">2</cx:pt>
          <cx:pt idx="5858">1</cx:pt>
          <cx:pt idx="5859">3</cx:pt>
          <cx:pt idx="5860">1</cx:pt>
          <cx:pt idx="5861">1</cx:pt>
          <cx:pt idx="5862">1</cx:pt>
          <cx:pt idx="5863">3</cx:pt>
          <cx:pt idx="5864">2</cx:pt>
          <cx:pt idx="5865">2</cx:pt>
          <cx:pt idx="5866">1</cx:pt>
          <cx:pt idx="5867">1</cx:pt>
          <cx:pt idx="5868">1</cx:pt>
          <cx:pt idx="5869">2</cx:pt>
          <cx:pt idx="5870">5</cx:pt>
          <cx:pt idx="5871">5</cx:pt>
          <cx:pt idx="5872">2</cx:pt>
          <cx:pt idx="5873">2</cx:pt>
          <cx:pt idx="5874">1</cx:pt>
          <cx:pt idx="5875">1</cx:pt>
          <cx:pt idx="5876">4</cx:pt>
          <cx:pt idx="5877">2</cx:pt>
          <cx:pt idx="5878">3</cx:pt>
          <cx:pt idx="5879">8</cx:pt>
          <cx:pt idx="5880">1</cx:pt>
          <cx:pt idx="5881">4</cx:pt>
          <cx:pt idx="5882">4</cx:pt>
          <cx:pt idx="5883">4</cx:pt>
          <cx:pt idx="5884">3</cx:pt>
          <cx:pt idx="5885">3</cx:pt>
          <cx:pt idx="5886">10</cx:pt>
          <cx:pt idx="5887">2</cx:pt>
          <cx:pt idx="5888">1</cx:pt>
          <cx:pt idx="5889">8</cx:pt>
          <cx:pt idx="5890">3</cx:pt>
          <cx:pt idx="5891">3</cx:pt>
          <cx:pt idx="5892">2</cx:pt>
          <cx:pt idx="5893">2</cx:pt>
          <cx:pt idx="5894">1</cx:pt>
          <cx:pt idx="5895">4</cx:pt>
          <cx:pt idx="5896">3</cx:pt>
          <cx:pt idx="5897">8</cx:pt>
          <cx:pt idx="5898">4</cx:pt>
          <cx:pt idx="5899">2</cx:pt>
          <cx:pt idx="5900">3</cx:pt>
          <cx:pt idx="5901">3</cx:pt>
          <cx:pt idx="5902">3</cx:pt>
          <cx:pt idx="5903">3</cx:pt>
          <cx:pt idx="5904">3</cx:pt>
          <cx:pt idx="5905">2</cx:pt>
          <cx:pt idx="5906">3</cx:pt>
          <cx:pt idx="5907">5</cx:pt>
          <cx:pt idx="5908">1</cx:pt>
          <cx:pt idx="5909">4</cx:pt>
          <cx:pt idx="5910">4</cx:pt>
          <cx:pt idx="5911">3</cx:pt>
          <cx:pt idx="5912">4</cx:pt>
          <cx:pt idx="5913">2</cx:pt>
          <cx:pt idx="5914">2</cx:pt>
          <cx:pt idx="5915">1</cx:pt>
          <cx:pt idx="5916">1</cx:pt>
          <cx:pt idx="5917">5</cx:pt>
          <cx:pt idx="5918">1</cx:pt>
          <cx:pt idx="5919">3</cx:pt>
          <cx:pt idx="5920">5</cx:pt>
          <cx:pt idx="5921">4</cx:pt>
          <cx:pt idx="5922">3</cx:pt>
          <cx:pt idx="5923">2</cx:pt>
          <cx:pt idx="5924">2</cx:pt>
          <cx:pt idx="5925">1</cx:pt>
          <cx:pt idx="5926">2</cx:pt>
          <cx:pt idx="5927">2</cx:pt>
          <cx:pt idx="5928">1</cx:pt>
          <cx:pt idx="5929">1</cx:pt>
          <cx:pt idx="5930">1</cx:pt>
          <cx:pt idx="5931">2</cx:pt>
          <cx:pt idx="5932">1</cx:pt>
          <cx:pt idx="5933">3</cx:pt>
          <cx:pt idx="5934">2</cx:pt>
          <cx:pt idx="5935">2</cx:pt>
          <cx:pt idx="5936">2</cx:pt>
          <cx:pt idx="5937">3</cx:pt>
          <cx:pt idx="5938">1</cx:pt>
          <cx:pt idx="5939">1</cx:pt>
          <cx:pt idx="5940">2</cx:pt>
          <cx:pt idx="5941">3</cx:pt>
          <cx:pt idx="5942">2</cx:pt>
          <cx:pt idx="5943">1</cx:pt>
          <cx:pt idx="5944">1</cx:pt>
          <cx:pt idx="5945">2</cx:pt>
          <cx:pt idx="5946">1</cx:pt>
          <cx:pt idx="5947">3</cx:pt>
          <cx:pt idx="5948">1</cx:pt>
          <cx:pt idx="5949">1</cx:pt>
          <cx:pt idx="5950">3</cx:pt>
          <cx:pt idx="5951">1</cx:pt>
          <cx:pt idx="5952">4</cx:pt>
          <cx:pt idx="5953">1</cx:pt>
          <cx:pt idx="5954">3</cx:pt>
          <cx:pt idx="5955">1</cx:pt>
          <cx:pt idx="5956">1</cx:pt>
          <cx:pt idx="5957">1</cx:pt>
          <cx:pt idx="5958">1</cx:pt>
          <cx:pt idx="5959">1</cx:pt>
          <cx:pt idx="5960">2</cx:pt>
          <cx:pt idx="5961">1</cx:pt>
          <cx:pt idx="5962">2</cx:pt>
          <cx:pt idx="5963">7</cx:pt>
          <cx:pt idx="5964">2</cx:pt>
          <cx:pt idx="5965">3</cx:pt>
          <cx:pt idx="5966">1</cx:pt>
          <cx:pt idx="5967">1</cx:pt>
          <cx:pt idx="5968">1</cx:pt>
          <cx:pt idx="5969">3</cx:pt>
          <cx:pt idx="5970">5</cx:pt>
          <cx:pt idx="5971">6</cx:pt>
          <cx:pt idx="5972">3</cx:pt>
          <cx:pt idx="5973">2</cx:pt>
          <cx:pt idx="5974">1</cx:pt>
          <cx:pt idx="5975">3</cx:pt>
          <cx:pt idx="5976">3</cx:pt>
          <cx:pt idx="5977">1</cx:pt>
          <cx:pt idx="5978">5</cx:pt>
          <cx:pt idx="5979">4</cx:pt>
          <cx:pt idx="5980">3</cx:pt>
          <cx:pt idx="5981">1</cx:pt>
          <cx:pt idx="5982">2</cx:pt>
          <cx:pt idx="5983">3</cx:pt>
          <cx:pt idx="5984">1</cx:pt>
          <cx:pt idx="5985">4</cx:pt>
          <cx:pt idx="5986">1</cx:pt>
          <cx:pt idx="5987">2</cx:pt>
          <cx:pt idx="5988">2</cx:pt>
          <cx:pt idx="5989">1</cx:pt>
          <cx:pt idx="5990">1</cx:pt>
          <cx:pt idx="5991">1</cx:pt>
          <cx:pt idx="5992">3</cx:pt>
          <cx:pt idx="5993">1</cx:pt>
          <cx:pt idx="5994">3</cx:pt>
          <cx:pt idx="5995">1</cx:pt>
          <cx:pt idx="5996">2</cx:pt>
          <cx:pt idx="5997">1</cx:pt>
          <cx:pt idx="5998">2</cx:pt>
          <cx:pt idx="5999">4</cx:pt>
          <cx:pt idx="6000">2</cx:pt>
          <cx:pt idx="6001">3</cx:pt>
          <cx:pt idx="6002">2</cx:pt>
          <cx:pt idx="6003">1</cx:pt>
          <cx:pt idx="6004">1</cx:pt>
          <cx:pt idx="6005">1</cx:pt>
          <cx:pt idx="6006">2</cx:pt>
          <cx:pt idx="6007">4</cx:pt>
          <cx:pt idx="6008">1</cx:pt>
          <cx:pt idx="6009">3</cx:pt>
          <cx:pt idx="6010">1</cx:pt>
          <cx:pt idx="6011">1</cx:pt>
          <cx:pt idx="6012">1</cx:pt>
          <cx:pt idx="6013">2</cx:pt>
          <cx:pt idx="6014">3</cx:pt>
          <cx:pt idx="6015">2</cx:pt>
          <cx:pt idx="6016">2</cx:pt>
          <cx:pt idx="6017">2</cx:pt>
          <cx:pt idx="6018">5</cx:pt>
          <cx:pt idx="6019">4</cx:pt>
          <cx:pt idx="6020">3</cx:pt>
          <cx:pt idx="6021">1</cx:pt>
          <cx:pt idx="6022">1</cx:pt>
          <cx:pt idx="6023">1</cx:pt>
          <cx:pt idx="6024">1</cx:pt>
          <cx:pt idx="6025">2</cx:pt>
          <cx:pt idx="6026">2</cx:pt>
          <cx:pt idx="6027">3</cx:pt>
          <cx:pt idx="6028">4</cx:pt>
          <cx:pt idx="6029">2</cx:pt>
          <cx:pt idx="6030">2</cx:pt>
          <cx:pt idx="6031">1</cx:pt>
          <cx:pt idx="6032">1</cx:pt>
          <cx:pt idx="6033">2</cx:pt>
          <cx:pt idx="6034">7</cx:pt>
          <cx:pt idx="6035">3</cx:pt>
          <cx:pt idx="6036">1</cx:pt>
          <cx:pt idx="6037">2</cx:pt>
          <cx:pt idx="6038">1</cx:pt>
          <cx:pt idx="6039">1</cx:pt>
          <cx:pt idx="6040">1</cx:pt>
          <cx:pt idx="6041">2</cx:pt>
          <cx:pt idx="6042">4</cx:pt>
          <cx:pt idx="6043">3</cx:pt>
          <cx:pt idx="6044">2</cx:pt>
          <cx:pt idx="6045">1</cx:pt>
          <cx:pt idx="6046">1</cx:pt>
          <cx:pt idx="6047">1</cx:pt>
          <cx:pt idx="6048">2</cx:pt>
          <cx:pt idx="6049">1</cx:pt>
          <cx:pt idx="6050">4</cx:pt>
          <cx:pt idx="6051">3</cx:pt>
          <cx:pt idx="6052">6</cx:pt>
          <cx:pt idx="6053">3</cx:pt>
          <cx:pt idx="6054">1</cx:pt>
          <cx:pt idx="6055">2</cx:pt>
          <cx:pt idx="6056">1</cx:pt>
          <cx:pt idx="6057">2</cx:pt>
          <cx:pt idx="6058">4</cx:pt>
          <cx:pt idx="6059">3</cx:pt>
          <cx:pt idx="6060">4</cx:pt>
          <cx:pt idx="6061">4</cx:pt>
          <cx:pt idx="6062">4</cx:pt>
          <cx:pt idx="6063">2</cx:pt>
          <cx:pt idx="6064">4</cx:pt>
          <cx:pt idx="6065">1</cx:pt>
          <cx:pt idx="6066">3</cx:pt>
          <cx:pt idx="6067">2</cx:pt>
          <cx:pt idx="6068">2</cx:pt>
          <cx:pt idx="6069">2</cx:pt>
          <cx:pt idx="6070">3</cx:pt>
          <cx:pt idx="6071">2</cx:pt>
          <cx:pt idx="6072">1</cx:pt>
          <cx:pt idx="6073">1</cx:pt>
          <cx:pt idx="6074">4</cx:pt>
          <cx:pt idx="6075">4</cx:pt>
          <cx:pt idx="6076">3</cx:pt>
          <cx:pt idx="6077">2</cx:pt>
          <cx:pt idx="6078">2</cx:pt>
          <cx:pt idx="6079">2</cx:pt>
          <cx:pt idx="6080">2</cx:pt>
          <cx:pt idx="6081">2</cx:pt>
          <cx:pt idx="6082">2</cx:pt>
          <cx:pt idx="6083">2</cx:pt>
          <cx:pt idx="6084">4</cx:pt>
          <cx:pt idx="6085">1</cx:pt>
          <cx:pt idx="6086">1</cx:pt>
          <cx:pt idx="6087">2</cx:pt>
          <cx:pt idx="6088">2</cx:pt>
          <cx:pt idx="6089">2</cx:pt>
          <cx:pt idx="6090">1</cx:pt>
          <cx:pt idx="6091">4</cx:pt>
          <cx:pt idx="6092">6</cx:pt>
          <cx:pt idx="6093">1</cx:pt>
          <cx:pt idx="6094">4</cx:pt>
          <cx:pt idx="6095">1</cx:pt>
          <cx:pt idx="6096">4</cx:pt>
          <cx:pt idx="6097">4</cx:pt>
          <cx:pt idx="6098">1</cx:pt>
          <cx:pt idx="6099">1</cx:pt>
          <cx:pt idx="6100">1</cx:pt>
          <cx:pt idx="6101">3</cx:pt>
          <cx:pt idx="6102">4</cx:pt>
          <cx:pt idx="6103">2</cx:pt>
          <cx:pt idx="6104">1</cx:pt>
          <cx:pt idx="6105">1</cx:pt>
          <cx:pt idx="6106">1</cx:pt>
          <cx:pt idx="6107">1</cx:pt>
          <cx:pt idx="6108">2</cx:pt>
          <cx:pt idx="6109">2</cx:pt>
          <cx:pt idx="6110">2</cx:pt>
          <cx:pt idx="6111">2</cx:pt>
          <cx:pt idx="6112">2</cx:pt>
          <cx:pt idx="6113">2</cx:pt>
          <cx:pt idx="6114">11</cx:pt>
          <cx:pt idx="6115">1</cx:pt>
          <cx:pt idx="6116">3</cx:pt>
          <cx:pt idx="6117">2</cx:pt>
          <cx:pt idx="6118">1</cx:pt>
          <cx:pt idx="6119">2</cx:pt>
          <cx:pt idx="6120">1</cx:pt>
          <cx:pt idx="6121">4</cx:pt>
          <cx:pt idx="6122">4</cx:pt>
          <cx:pt idx="6123">1</cx:pt>
          <cx:pt idx="6124">2</cx:pt>
          <cx:pt idx="6125">9</cx:pt>
          <cx:pt idx="6126">4</cx:pt>
          <cx:pt idx="6127">4</cx:pt>
          <cx:pt idx="6128">3</cx:pt>
          <cx:pt idx="6129">1</cx:pt>
          <cx:pt idx="6130">1</cx:pt>
          <cx:pt idx="6131">2</cx:pt>
          <cx:pt idx="6132">2</cx:pt>
          <cx:pt idx="6133">2</cx:pt>
          <cx:pt idx="6134">2</cx:pt>
          <cx:pt idx="6135">5</cx:pt>
          <cx:pt idx="6136">2</cx:pt>
          <cx:pt idx="6137">1</cx:pt>
          <cx:pt idx="6138">2</cx:pt>
          <cx:pt idx="6139">1</cx:pt>
          <cx:pt idx="6140">2</cx:pt>
          <cx:pt idx="6141">2</cx:pt>
          <cx:pt idx="6142">1</cx:pt>
          <cx:pt idx="6143">2</cx:pt>
          <cx:pt idx="6144">1</cx:pt>
          <cx:pt idx="6145">1</cx:pt>
          <cx:pt idx="6146">1</cx:pt>
          <cx:pt idx="6147">1</cx:pt>
          <cx:pt idx="6148">1</cx:pt>
          <cx:pt idx="6149">6</cx:pt>
          <cx:pt idx="6150">1</cx:pt>
          <cx:pt idx="6151">1</cx:pt>
          <cx:pt idx="6152">2</cx:pt>
          <cx:pt idx="6153">2</cx:pt>
          <cx:pt idx="6154">3</cx:pt>
          <cx:pt idx="6155">2</cx:pt>
          <cx:pt idx="6156">2</cx:pt>
          <cx:pt idx="6157">3</cx:pt>
          <cx:pt idx="6158">1</cx:pt>
          <cx:pt idx="6159">1</cx:pt>
          <cx:pt idx="6160">2</cx:pt>
          <cx:pt idx="6161">1</cx:pt>
          <cx:pt idx="6162">1</cx:pt>
          <cx:pt idx="6163">1</cx:pt>
          <cx:pt idx="6164">1</cx:pt>
          <cx:pt idx="6165">2</cx:pt>
          <cx:pt idx="6166">8</cx:pt>
          <cx:pt idx="6167">1</cx:pt>
          <cx:pt idx="6168">2</cx:pt>
          <cx:pt idx="6169">5</cx:pt>
          <cx:pt idx="6170">2</cx:pt>
          <cx:pt idx="6171">7</cx:pt>
          <cx:pt idx="6172">3</cx:pt>
          <cx:pt idx="6173">5</cx:pt>
          <cx:pt idx="6174">2</cx:pt>
          <cx:pt idx="6175">1</cx:pt>
          <cx:pt idx="6176">2</cx:pt>
          <cx:pt idx="6177">1</cx:pt>
          <cx:pt idx="6178">3</cx:pt>
          <cx:pt idx="6179">1</cx:pt>
          <cx:pt idx="6180">1</cx:pt>
          <cx:pt idx="6181">2</cx:pt>
          <cx:pt idx="6182">1</cx:pt>
          <cx:pt idx="6183">3</cx:pt>
          <cx:pt idx="6184">1</cx:pt>
          <cx:pt idx="6185">1</cx:pt>
          <cx:pt idx="6186">2</cx:pt>
          <cx:pt idx="6187">1</cx:pt>
          <cx:pt idx="6188">1</cx:pt>
          <cx:pt idx="6189">1</cx:pt>
          <cx:pt idx="6190">3</cx:pt>
          <cx:pt idx="6191">5</cx:pt>
          <cx:pt idx="6192">4</cx:pt>
          <cx:pt idx="6193">3</cx:pt>
          <cx:pt idx="6194">2</cx:pt>
          <cx:pt idx="6195">4</cx:pt>
          <cx:pt idx="6196">3</cx:pt>
          <cx:pt idx="6197">2</cx:pt>
          <cx:pt idx="6198">1</cx:pt>
          <cx:pt idx="6199">1</cx:pt>
          <cx:pt idx="6200">3</cx:pt>
          <cx:pt idx="6201">2</cx:pt>
          <cx:pt idx="6202">5</cx:pt>
          <cx:pt idx="6203">2</cx:pt>
          <cx:pt idx="6204">3</cx:pt>
          <cx:pt idx="6205">1</cx:pt>
          <cx:pt idx="6206">1</cx:pt>
          <cx:pt idx="6207">2</cx:pt>
          <cx:pt idx="6208">1</cx:pt>
          <cx:pt idx="6209">4</cx:pt>
          <cx:pt idx="6210">1</cx:pt>
          <cx:pt idx="6211">3</cx:pt>
          <cx:pt idx="6212">1</cx:pt>
          <cx:pt idx="6213">7</cx:pt>
          <cx:pt idx="6214">2</cx:pt>
          <cx:pt idx="6215">2</cx:pt>
          <cx:pt idx="6216">1</cx:pt>
          <cx:pt idx="6217">2</cx:pt>
          <cx:pt idx="6218">2</cx:pt>
          <cx:pt idx="6219">3</cx:pt>
          <cx:pt idx="6220">1</cx:pt>
          <cx:pt idx="6221">1</cx:pt>
          <cx:pt idx="6222">2</cx:pt>
          <cx:pt idx="6223">4</cx:pt>
          <cx:pt idx="6224">4</cx:pt>
          <cx:pt idx="6225">3</cx:pt>
          <cx:pt idx="6226">1</cx:pt>
          <cx:pt idx="6227">2</cx:pt>
          <cx:pt idx="6228">2</cx:pt>
          <cx:pt idx="6229">1</cx:pt>
          <cx:pt idx="6230">3</cx:pt>
          <cx:pt idx="6231">3</cx:pt>
          <cx:pt idx="6232">1</cx:pt>
          <cx:pt idx="6233">3</cx:pt>
          <cx:pt idx="6234">3</cx:pt>
          <cx:pt idx="6235">3</cx:pt>
          <cx:pt idx="6236">1</cx:pt>
          <cx:pt idx="6237">1</cx:pt>
          <cx:pt idx="6238">2</cx:pt>
          <cx:pt idx="6239">2</cx:pt>
          <cx:pt idx="6240">1</cx:pt>
          <cx:pt idx="6241">1</cx:pt>
          <cx:pt idx="6242">4</cx:pt>
          <cx:pt idx="6243">4</cx:pt>
          <cx:pt idx="6244">1</cx:pt>
          <cx:pt idx="6245">6</cx:pt>
          <cx:pt idx="6246">1</cx:pt>
          <cx:pt idx="6247">11</cx:pt>
          <cx:pt idx="6248">2</cx:pt>
          <cx:pt idx="6249">5</cx:pt>
          <cx:pt idx="6250">3</cx:pt>
          <cx:pt idx="6251">4</cx:pt>
          <cx:pt idx="6252">1</cx:pt>
          <cx:pt idx="6253">1</cx:pt>
          <cx:pt idx="6254">1</cx:pt>
          <cx:pt idx="6255">4</cx:pt>
          <cx:pt idx="6256">2</cx:pt>
          <cx:pt idx="6257">5</cx:pt>
          <cx:pt idx="6258">2</cx:pt>
          <cx:pt idx="6259">2</cx:pt>
          <cx:pt idx="6260">3</cx:pt>
          <cx:pt idx="6261">3</cx:pt>
          <cx:pt idx="6262">1</cx:pt>
          <cx:pt idx="6263">5</cx:pt>
          <cx:pt idx="6264">1</cx:pt>
          <cx:pt idx="6265">1</cx:pt>
          <cx:pt idx="6266">2</cx:pt>
          <cx:pt idx="6267">7</cx:pt>
          <cx:pt idx="6268">1</cx:pt>
          <cx:pt idx="6269">2</cx:pt>
          <cx:pt idx="6270">5</cx:pt>
          <cx:pt idx="6271">1</cx:pt>
          <cx:pt idx="6272">3</cx:pt>
          <cx:pt idx="6273">2</cx:pt>
          <cx:pt idx="6274">2</cx:pt>
          <cx:pt idx="6275">4</cx:pt>
          <cx:pt idx="6276">5</cx:pt>
          <cx:pt idx="6277">1</cx:pt>
          <cx:pt idx="6278">3</cx:pt>
          <cx:pt idx="6279">2</cx:pt>
          <cx:pt idx="6280">2</cx:pt>
          <cx:pt idx="6281">1</cx:pt>
          <cx:pt idx="6282">1</cx:pt>
          <cx:pt idx="6283">3</cx:pt>
          <cx:pt idx="6284">5</cx:pt>
          <cx:pt idx="6285">1</cx:pt>
          <cx:pt idx="6286">5</cx:pt>
          <cx:pt idx="6287">1</cx:pt>
          <cx:pt idx="6288">4</cx:pt>
          <cx:pt idx="6289">3</cx:pt>
          <cx:pt idx="6290">1</cx:pt>
          <cx:pt idx="6291">3</cx:pt>
          <cx:pt idx="6292">2</cx:pt>
          <cx:pt idx="6293">1</cx:pt>
          <cx:pt idx="6294">2</cx:pt>
          <cx:pt idx="6295">1</cx:pt>
          <cx:pt idx="6296">1</cx:pt>
          <cx:pt idx="6297">2</cx:pt>
          <cx:pt idx="6298">1</cx:pt>
          <cx:pt idx="6299">1</cx:pt>
          <cx:pt idx="6300">3</cx:pt>
          <cx:pt idx="6301">1</cx:pt>
          <cx:pt idx="6302">3</cx:pt>
          <cx:pt idx="6303">2</cx:pt>
          <cx:pt idx="6304">2</cx:pt>
          <cx:pt idx="6305">1</cx:pt>
          <cx:pt idx="6306">2</cx:pt>
          <cx:pt idx="6307">2</cx:pt>
          <cx:pt idx="6308">1</cx:pt>
          <cx:pt idx="6309">11</cx:pt>
          <cx:pt idx="6310">1</cx:pt>
          <cx:pt idx="6311">2</cx:pt>
          <cx:pt idx="6312">2</cx:pt>
          <cx:pt idx="6313">2</cx:pt>
          <cx:pt idx="6314">5</cx:pt>
          <cx:pt idx="6315">2</cx:pt>
          <cx:pt idx="6316">1</cx:pt>
          <cx:pt idx="6317">1</cx:pt>
          <cx:pt idx="6318">1</cx:pt>
          <cx:pt idx="6319">3</cx:pt>
          <cx:pt idx="6320">1</cx:pt>
          <cx:pt idx="6321">2</cx:pt>
          <cx:pt idx="6322">4</cx:pt>
          <cx:pt idx="6323">4</cx:pt>
          <cx:pt idx="6324">2</cx:pt>
          <cx:pt idx="6325">1</cx:pt>
          <cx:pt idx="6326">2</cx:pt>
          <cx:pt idx="6327">1</cx:pt>
          <cx:pt idx="6328">1</cx:pt>
          <cx:pt idx="6329">2</cx:pt>
          <cx:pt idx="6330">2</cx:pt>
          <cx:pt idx="6331">2</cx:pt>
          <cx:pt idx="6332">1</cx:pt>
          <cx:pt idx="6333">6</cx:pt>
          <cx:pt idx="6334">2</cx:pt>
          <cx:pt idx="6335">1</cx:pt>
          <cx:pt idx="6336">3</cx:pt>
          <cx:pt idx="6337">3</cx:pt>
          <cx:pt idx="6338">2</cx:pt>
          <cx:pt idx="6339">1</cx:pt>
          <cx:pt idx="6340">6</cx:pt>
          <cx:pt idx="6341">3</cx:pt>
          <cx:pt idx="6342">2</cx:pt>
          <cx:pt idx="6343">1</cx:pt>
          <cx:pt idx="6344">2</cx:pt>
          <cx:pt idx="6345">1</cx:pt>
          <cx:pt idx="6346">4</cx:pt>
          <cx:pt idx="6347">1</cx:pt>
          <cx:pt idx="6348">2</cx:pt>
          <cx:pt idx="6349">1</cx:pt>
          <cx:pt idx="6350">1</cx:pt>
          <cx:pt idx="6351">1</cx:pt>
          <cx:pt idx="6352">4</cx:pt>
          <cx:pt idx="6353">3</cx:pt>
          <cx:pt idx="6354">9</cx:pt>
          <cx:pt idx="6355">1</cx:pt>
          <cx:pt idx="6356">4</cx:pt>
          <cx:pt idx="6357">4</cx:pt>
          <cx:pt idx="6358">5</cx:pt>
          <cx:pt idx="6359">4</cx:pt>
          <cx:pt idx="6360">4</cx:pt>
          <cx:pt idx="6361">2</cx:pt>
          <cx:pt idx="6362">1</cx:pt>
          <cx:pt idx="6363">2</cx:pt>
          <cx:pt idx="6364">3</cx:pt>
          <cx:pt idx="6365">4</cx:pt>
          <cx:pt idx="6366">1</cx:pt>
          <cx:pt idx="6367">2</cx:pt>
          <cx:pt idx="6368">4</cx:pt>
          <cx:pt idx="6369">2</cx:pt>
          <cx:pt idx="6370">2</cx:pt>
          <cx:pt idx="6371">2</cx:pt>
          <cx:pt idx="6372">2</cx:pt>
          <cx:pt idx="6373">2</cx:pt>
          <cx:pt idx="6374">2</cx:pt>
          <cx:pt idx="6375">6</cx:pt>
          <cx:pt idx="6376">1</cx:pt>
          <cx:pt idx="6377">3</cx:pt>
          <cx:pt idx="6378">2</cx:pt>
          <cx:pt idx="6379">2</cx:pt>
          <cx:pt idx="6380">1</cx:pt>
          <cx:pt idx="6381">2</cx:pt>
          <cx:pt idx="6382">2</cx:pt>
          <cx:pt idx="6383">4</cx:pt>
          <cx:pt idx="6384">2</cx:pt>
          <cx:pt idx="6385">1</cx:pt>
          <cx:pt idx="6386">3</cx:pt>
          <cx:pt idx="6387">4</cx:pt>
          <cx:pt idx="6388">4</cx:pt>
          <cx:pt idx="6389">2</cx:pt>
          <cx:pt idx="6390">2</cx:pt>
          <cx:pt idx="6391">1</cx:pt>
          <cx:pt idx="6392">5</cx:pt>
          <cx:pt idx="6393">4</cx:pt>
          <cx:pt idx="6394">6</cx:pt>
          <cx:pt idx="6395">6</cx:pt>
          <cx:pt idx="6396">2</cx:pt>
          <cx:pt idx="6397">2</cx:pt>
          <cx:pt idx="6398">2</cx:pt>
          <cx:pt idx="6399">1</cx:pt>
          <cx:pt idx="6400">2</cx:pt>
          <cx:pt idx="6401">3</cx:pt>
          <cx:pt idx="6402">1</cx:pt>
          <cx:pt idx="6403">1</cx:pt>
          <cx:pt idx="6404">2</cx:pt>
          <cx:pt idx="6405">2</cx:pt>
          <cx:pt idx="6406">1</cx:pt>
          <cx:pt idx="6407">1</cx:pt>
          <cx:pt idx="6408">6</cx:pt>
          <cx:pt idx="6409">2</cx:pt>
          <cx:pt idx="6410">1</cx:pt>
          <cx:pt idx="6411">6</cx:pt>
          <cx:pt idx="6412">5</cx:pt>
          <cx:pt idx="6413">1</cx:pt>
          <cx:pt idx="6414">2</cx:pt>
          <cx:pt idx="6415">2</cx:pt>
          <cx:pt idx="6416">2</cx:pt>
          <cx:pt idx="6417">2</cx:pt>
          <cx:pt idx="6418">2</cx:pt>
          <cx:pt idx="6419">1</cx:pt>
          <cx:pt idx="6420">1</cx:pt>
          <cx:pt idx="6421">2</cx:pt>
          <cx:pt idx="6422">1</cx:pt>
          <cx:pt idx="6423">1</cx:pt>
          <cx:pt idx="6424">2</cx:pt>
          <cx:pt idx="6425">1</cx:pt>
          <cx:pt idx="6426">1</cx:pt>
          <cx:pt idx="6427">2</cx:pt>
          <cx:pt idx="6428">1</cx:pt>
          <cx:pt idx="6429">1</cx:pt>
          <cx:pt idx="6430">3</cx:pt>
          <cx:pt idx="6431">1</cx:pt>
          <cx:pt idx="6432">1</cx:pt>
          <cx:pt idx="6433">4</cx:pt>
          <cx:pt idx="6434">1</cx:pt>
          <cx:pt idx="6435">2</cx:pt>
          <cx:pt idx="6436">4</cx:pt>
          <cx:pt idx="6437">5</cx:pt>
          <cx:pt idx="6438">2</cx:pt>
          <cx:pt idx="6439">2</cx:pt>
          <cx:pt idx="6440">1</cx:pt>
          <cx:pt idx="6441">2</cx:pt>
          <cx:pt idx="6442">2</cx:pt>
          <cx:pt idx="6443">1</cx:pt>
          <cx:pt idx="6444">3</cx:pt>
          <cx:pt idx="6445">2</cx:pt>
          <cx:pt idx="6446">6</cx:pt>
          <cx:pt idx="6447">1</cx:pt>
          <cx:pt idx="6448">7</cx:pt>
          <cx:pt idx="6449">2</cx:pt>
          <cx:pt idx="6450">1</cx:pt>
          <cx:pt idx="6451">1</cx:pt>
          <cx:pt idx="6452">1</cx:pt>
          <cx:pt idx="6453">2</cx:pt>
          <cx:pt idx="6454">5</cx:pt>
          <cx:pt idx="6455">3</cx:pt>
          <cx:pt idx="6456">4</cx:pt>
          <cx:pt idx="6457">1</cx:pt>
          <cx:pt idx="6458">1</cx:pt>
          <cx:pt idx="6459">2</cx:pt>
          <cx:pt idx="6460">2</cx:pt>
          <cx:pt idx="6461">2</cx:pt>
          <cx:pt idx="6462">1</cx:pt>
          <cx:pt idx="6463">1</cx:pt>
          <cx:pt idx="6464">1</cx:pt>
          <cx:pt idx="6465">1</cx:pt>
          <cx:pt idx="6466">1</cx:pt>
          <cx:pt idx="6467">1</cx:pt>
          <cx:pt idx="6468">1</cx:pt>
          <cx:pt idx="6469">5</cx:pt>
          <cx:pt idx="6470">5</cx:pt>
          <cx:pt idx="6471">1</cx:pt>
          <cx:pt idx="6472">6</cx:pt>
          <cx:pt idx="6473">2</cx:pt>
          <cx:pt idx="6474">3</cx:pt>
          <cx:pt idx="6475">5</cx:pt>
          <cx:pt idx="6476">7</cx:pt>
          <cx:pt idx="6477">1</cx:pt>
          <cx:pt idx="6478">4</cx:pt>
          <cx:pt idx="6479">4</cx:pt>
          <cx:pt idx="6480">1</cx:pt>
          <cx:pt idx="6481">1</cx:pt>
          <cx:pt idx="6482">4</cx:pt>
          <cx:pt idx="6483">1</cx:pt>
          <cx:pt idx="6484">3</cx:pt>
          <cx:pt idx="6485">3</cx:pt>
          <cx:pt idx="6486">1</cx:pt>
          <cx:pt idx="6487">4</cx:pt>
          <cx:pt idx="6488">6</cx:pt>
          <cx:pt idx="6489">1</cx:pt>
          <cx:pt idx="6490">1</cx:pt>
          <cx:pt idx="6491">6</cx:pt>
          <cx:pt idx="6492">5</cx:pt>
          <cx:pt idx="6493">1</cx:pt>
          <cx:pt idx="6494">1</cx:pt>
          <cx:pt idx="6495">4</cx:pt>
          <cx:pt idx="6496">2</cx:pt>
          <cx:pt idx="6497">2</cx:pt>
          <cx:pt idx="6498">1</cx:pt>
          <cx:pt idx="6499">1</cx:pt>
          <cx:pt idx="6500">1</cx:pt>
          <cx:pt idx="6501">2</cx:pt>
          <cx:pt idx="6502">1</cx:pt>
          <cx:pt idx="6503">1</cx:pt>
          <cx:pt idx="6504">1</cx:pt>
          <cx:pt idx="6505">4</cx:pt>
          <cx:pt idx="6506">3</cx:pt>
          <cx:pt idx="6507">1</cx:pt>
          <cx:pt idx="6508">2</cx:pt>
          <cx:pt idx="6509">3</cx:pt>
          <cx:pt idx="6510">4</cx:pt>
          <cx:pt idx="6511">2</cx:pt>
          <cx:pt idx="6512">2</cx:pt>
          <cx:pt idx="6513">1</cx:pt>
          <cx:pt idx="6514">1</cx:pt>
          <cx:pt idx="6515">4</cx:pt>
          <cx:pt idx="6516">4</cx:pt>
          <cx:pt idx="6517">1</cx:pt>
          <cx:pt idx="6518">2</cx:pt>
          <cx:pt idx="6519">3</cx:pt>
          <cx:pt idx="6520">1</cx:pt>
          <cx:pt idx="6521">6</cx:pt>
          <cx:pt idx="6522">5</cx:pt>
          <cx:pt idx="6523">2</cx:pt>
          <cx:pt idx="6524">7</cx:pt>
          <cx:pt idx="6525">5</cx:pt>
          <cx:pt idx="6526">2</cx:pt>
          <cx:pt idx="6527">3</cx:pt>
          <cx:pt idx="6528">1</cx:pt>
          <cx:pt idx="6529">3</cx:pt>
          <cx:pt idx="6530">2</cx:pt>
          <cx:pt idx="6531">1</cx:pt>
          <cx:pt idx="6532">2</cx:pt>
          <cx:pt idx="6533">1</cx:pt>
          <cx:pt idx="6534">1</cx:pt>
          <cx:pt idx="6535">1</cx:pt>
          <cx:pt idx="6536">4</cx:pt>
          <cx:pt idx="6537">1</cx:pt>
          <cx:pt idx="6538">3</cx:pt>
          <cx:pt idx="6539">2</cx:pt>
          <cx:pt idx="6540">2</cx:pt>
          <cx:pt idx="6541">5</cx:pt>
          <cx:pt idx="6542">1</cx:pt>
          <cx:pt idx="6543">2</cx:pt>
          <cx:pt idx="6544">3</cx:pt>
          <cx:pt idx="6545">2</cx:pt>
          <cx:pt idx="6546">2</cx:pt>
          <cx:pt idx="6547">11</cx:pt>
          <cx:pt idx="6548">2</cx:pt>
          <cx:pt idx="6549">3</cx:pt>
          <cx:pt idx="6550">2</cx:pt>
          <cx:pt idx="6551">2</cx:pt>
          <cx:pt idx="6552">2</cx:pt>
          <cx:pt idx="6553">1</cx:pt>
          <cx:pt idx="6554">6</cx:pt>
          <cx:pt idx="6555">1</cx:pt>
          <cx:pt idx="6556">4</cx:pt>
          <cx:pt idx="6557">5</cx:pt>
          <cx:pt idx="6558">4</cx:pt>
          <cx:pt idx="6559">2</cx:pt>
          <cx:pt idx="6560">1</cx:pt>
          <cx:pt idx="6561">8</cx:pt>
          <cx:pt idx="6562">4</cx:pt>
          <cx:pt idx="6563">1</cx:pt>
          <cx:pt idx="6564">2</cx:pt>
          <cx:pt idx="6565">6</cx:pt>
          <cx:pt idx="6566">1</cx:pt>
          <cx:pt idx="6567">1</cx:pt>
          <cx:pt idx="6568">2</cx:pt>
          <cx:pt idx="6569">2</cx:pt>
          <cx:pt idx="6570">2</cx:pt>
          <cx:pt idx="6571">1</cx:pt>
          <cx:pt idx="6572">2</cx:pt>
          <cx:pt idx="6573">2</cx:pt>
          <cx:pt idx="6574">1</cx:pt>
          <cx:pt idx="6575">2</cx:pt>
          <cx:pt idx="6576">1</cx:pt>
          <cx:pt idx="6577">2</cx:pt>
          <cx:pt idx="6578">3</cx:pt>
          <cx:pt idx="6579">2</cx:pt>
          <cx:pt idx="6580">2</cx:pt>
          <cx:pt idx="6581">4</cx:pt>
          <cx:pt idx="6582">1</cx:pt>
          <cx:pt idx="6583">1</cx:pt>
          <cx:pt idx="6584">3</cx:pt>
          <cx:pt idx="6585">1</cx:pt>
          <cx:pt idx="6586">4</cx:pt>
          <cx:pt idx="6587">2</cx:pt>
          <cx:pt idx="6588">1</cx:pt>
          <cx:pt idx="6589">1</cx:pt>
          <cx:pt idx="6590">2</cx:pt>
          <cx:pt idx="6591">2</cx:pt>
          <cx:pt idx="6592">1</cx:pt>
          <cx:pt idx="6593">1</cx:pt>
          <cx:pt idx="6594">1</cx:pt>
          <cx:pt idx="6595">1</cx:pt>
          <cx:pt idx="6596">1</cx:pt>
          <cx:pt idx="6597">1</cx:pt>
          <cx:pt idx="6598">5</cx:pt>
          <cx:pt idx="6599">1</cx:pt>
          <cx:pt idx="6600">4</cx:pt>
          <cx:pt idx="6601">1</cx:pt>
          <cx:pt idx="6602">3</cx:pt>
          <cx:pt idx="6603">1</cx:pt>
          <cx:pt idx="6604">4</cx:pt>
          <cx:pt idx="6605">3</cx:pt>
          <cx:pt idx="6606">1</cx:pt>
          <cx:pt idx="6607">7</cx:pt>
          <cx:pt idx="6608">4</cx:pt>
          <cx:pt idx="6609">1</cx:pt>
          <cx:pt idx="6610">1</cx:pt>
          <cx:pt idx="6611">2</cx:pt>
          <cx:pt idx="6612">2</cx:pt>
          <cx:pt idx="6613">3</cx:pt>
          <cx:pt idx="6614">4</cx:pt>
          <cx:pt idx="6615">1</cx:pt>
          <cx:pt idx="6616">5</cx:pt>
          <cx:pt idx="6617">2</cx:pt>
          <cx:pt idx="6618">6</cx:pt>
          <cx:pt idx="6619">2</cx:pt>
          <cx:pt idx="6620">4</cx:pt>
          <cx:pt idx="6621">2</cx:pt>
          <cx:pt idx="6622">1</cx:pt>
          <cx:pt idx="6623">4</cx:pt>
          <cx:pt idx="6624">1</cx:pt>
          <cx:pt idx="6625">6</cx:pt>
          <cx:pt idx="6626">1</cx:pt>
          <cx:pt idx="6627">3</cx:pt>
          <cx:pt idx="6628">5</cx:pt>
          <cx:pt idx="6629">1</cx:pt>
          <cx:pt idx="6630">1</cx:pt>
          <cx:pt idx="6631">2</cx:pt>
          <cx:pt idx="6632">2</cx:pt>
          <cx:pt idx="6633">3</cx:pt>
          <cx:pt idx="6634">6</cx:pt>
          <cx:pt idx="6635">1</cx:pt>
          <cx:pt idx="6636">2</cx:pt>
          <cx:pt idx="6637">1</cx:pt>
          <cx:pt idx="6638">4</cx:pt>
          <cx:pt idx="6639">5</cx:pt>
          <cx:pt idx="6640">1</cx:pt>
          <cx:pt idx="6641">2</cx:pt>
          <cx:pt idx="6642">4</cx:pt>
          <cx:pt idx="6643">1</cx:pt>
          <cx:pt idx="6644">2</cx:pt>
          <cx:pt idx="6645">4</cx:pt>
          <cx:pt idx="6646">4</cx:pt>
          <cx:pt idx="6647">6</cx:pt>
          <cx:pt idx="6648">1</cx:pt>
          <cx:pt idx="6649">1</cx:pt>
          <cx:pt idx="6650">1</cx:pt>
          <cx:pt idx="6651">5</cx:pt>
          <cx:pt idx="6652">2</cx:pt>
          <cx:pt idx="6653">2</cx:pt>
          <cx:pt idx="6654">4</cx:pt>
          <cx:pt idx="6655">3</cx:pt>
          <cx:pt idx="6656">6</cx:pt>
          <cx:pt idx="6657">4</cx:pt>
          <cx:pt idx="6658">2</cx:pt>
          <cx:pt idx="6659">2</cx:pt>
          <cx:pt idx="6660">2</cx:pt>
          <cx:pt idx="6661">6</cx:pt>
          <cx:pt idx="6662">3</cx:pt>
          <cx:pt idx="6663">4</cx:pt>
          <cx:pt idx="6664">2</cx:pt>
          <cx:pt idx="6665">5</cx:pt>
          <cx:pt idx="6666">1</cx:pt>
          <cx:pt idx="6667">5</cx:pt>
          <cx:pt idx="6668">4</cx:pt>
          <cx:pt idx="6669">5</cx:pt>
          <cx:pt idx="6670">1</cx:pt>
          <cx:pt idx="6671">2</cx:pt>
          <cx:pt idx="6672">2</cx:pt>
          <cx:pt idx="6673">4</cx:pt>
          <cx:pt idx="6674">2</cx:pt>
          <cx:pt idx="6675">4</cx:pt>
          <cx:pt idx="6676">6</cx:pt>
          <cx:pt idx="6677">5</cx:pt>
          <cx:pt idx="6678">5</cx:pt>
          <cx:pt idx="6679">3</cx:pt>
          <cx:pt idx="6680">3</cx:pt>
          <cx:pt idx="6681">5</cx:pt>
          <cx:pt idx="6682">6</cx:pt>
          <cx:pt idx="6683">2</cx:pt>
          <cx:pt idx="6684">3</cx:pt>
          <cx:pt idx="6685">5</cx:pt>
          <cx:pt idx="6686">4</cx:pt>
          <cx:pt idx="6687">2</cx:pt>
          <cx:pt idx="6688">4</cx:pt>
          <cx:pt idx="6689">2</cx:pt>
          <cx:pt idx="6690">5</cx:pt>
          <cx:pt idx="6691">2</cx:pt>
          <cx:pt idx="6692">2</cx:pt>
          <cx:pt idx="6693">1</cx:pt>
          <cx:pt idx="6694">2</cx:pt>
          <cx:pt idx="6695">1</cx:pt>
          <cx:pt idx="6696">6</cx:pt>
          <cx:pt idx="6697">3</cx:pt>
          <cx:pt idx="6698">5</cx:pt>
          <cx:pt idx="6699">2</cx:pt>
          <cx:pt idx="6700">3</cx:pt>
          <cx:pt idx="6701">1</cx:pt>
          <cx:pt idx="6702">1</cx:pt>
          <cx:pt idx="6703">2</cx:pt>
          <cx:pt idx="6704">1</cx:pt>
          <cx:pt idx="6705">4</cx:pt>
          <cx:pt idx="6706">4</cx:pt>
          <cx:pt idx="6707">1</cx:pt>
          <cx:pt idx="6708">3</cx:pt>
          <cx:pt idx="6709">3</cx:pt>
          <cx:pt idx="6710">6</cx:pt>
          <cx:pt idx="6711">1</cx:pt>
          <cx:pt idx="6712">5</cx:pt>
          <cx:pt idx="6713">1</cx:pt>
          <cx:pt idx="6714">5</cx:pt>
          <cx:pt idx="6715">1</cx:pt>
          <cx:pt idx="6716">1</cx:pt>
          <cx:pt idx="6717">2</cx:pt>
          <cx:pt idx="6718">1</cx:pt>
          <cx:pt idx="6719">2</cx:pt>
          <cx:pt idx="6720">1</cx:pt>
          <cx:pt idx="6721">2</cx:pt>
          <cx:pt idx="6722">2</cx:pt>
          <cx:pt idx="6723">1</cx:pt>
          <cx:pt idx="6724">2</cx:pt>
          <cx:pt idx="6725">2</cx:pt>
          <cx:pt idx="6726">3</cx:pt>
          <cx:pt idx="6727">4</cx:pt>
          <cx:pt idx="6728">1</cx:pt>
          <cx:pt idx="6729">1</cx:pt>
          <cx:pt idx="6730">2</cx:pt>
          <cx:pt idx="6731">1</cx:pt>
          <cx:pt idx="6732">4</cx:pt>
          <cx:pt idx="6733">1</cx:pt>
          <cx:pt idx="6734">1</cx:pt>
          <cx:pt idx="6735">4</cx:pt>
          <cx:pt idx="6736">1</cx:pt>
          <cx:pt idx="6737">1</cx:pt>
          <cx:pt idx="6738">1</cx:pt>
          <cx:pt idx="6739">1</cx:pt>
          <cx:pt idx="6740">4</cx:pt>
          <cx:pt idx="6741">1</cx:pt>
          <cx:pt idx="6742">2</cx:pt>
          <cx:pt idx="6743">6</cx:pt>
          <cx:pt idx="6744">1</cx:pt>
          <cx:pt idx="6745">1</cx:pt>
          <cx:pt idx="6746">1</cx:pt>
          <cx:pt idx="6747">2</cx:pt>
          <cx:pt idx="6748">4</cx:pt>
          <cx:pt idx="6749">2</cx:pt>
          <cx:pt idx="6750">4</cx:pt>
          <cx:pt idx="6751">5</cx:pt>
          <cx:pt idx="6752">5</cx:pt>
          <cx:pt idx="6753">2</cx:pt>
          <cx:pt idx="6754">2</cx:pt>
          <cx:pt idx="6755">2</cx:pt>
          <cx:pt idx="6756">3</cx:pt>
          <cx:pt idx="6757">2</cx:pt>
          <cx:pt idx="6758">1</cx:pt>
          <cx:pt idx="6759">3</cx:pt>
          <cx:pt idx="6760">2</cx:pt>
          <cx:pt idx="6761">2</cx:pt>
          <cx:pt idx="6762">1</cx:pt>
          <cx:pt idx="6763">4</cx:pt>
          <cx:pt idx="6764">2</cx:pt>
          <cx:pt idx="6765">2</cx:pt>
          <cx:pt idx="6766">2</cx:pt>
          <cx:pt idx="6767">4</cx:pt>
          <cx:pt idx="6768">1</cx:pt>
          <cx:pt idx="6769">2</cx:pt>
          <cx:pt idx="6770">1</cx:pt>
          <cx:pt idx="6771">1</cx:pt>
          <cx:pt idx="6772">3</cx:pt>
          <cx:pt idx="6773">1</cx:pt>
          <cx:pt idx="6774">1</cx:pt>
          <cx:pt idx="6775">1</cx:pt>
          <cx:pt idx="6776">3</cx:pt>
          <cx:pt idx="6777">4</cx:pt>
          <cx:pt idx="6778">2</cx:pt>
          <cx:pt idx="6779">1</cx:pt>
          <cx:pt idx="6780">1</cx:pt>
          <cx:pt idx="6781">2</cx:pt>
          <cx:pt idx="6782">1</cx:pt>
          <cx:pt idx="6783">1</cx:pt>
          <cx:pt idx="6784">4</cx:pt>
          <cx:pt idx="6785">1</cx:pt>
          <cx:pt idx="6786">3</cx:pt>
          <cx:pt idx="6787">2</cx:pt>
          <cx:pt idx="6788">1</cx:pt>
          <cx:pt idx="6789">2</cx:pt>
          <cx:pt idx="6790">1</cx:pt>
          <cx:pt idx="6791">4</cx:pt>
          <cx:pt idx="6792">5</cx:pt>
          <cx:pt idx="6793">1</cx:pt>
          <cx:pt idx="6794">2</cx:pt>
          <cx:pt idx="6795">1</cx:pt>
          <cx:pt idx="6796">3</cx:pt>
          <cx:pt idx="6797">1</cx:pt>
          <cx:pt idx="6798">1</cx:pt>
          <cx:pt idx="6799">1</cx:pt>
          <cx:pt idx="6800">3</cx:pt>
          <cx:pt idx="6801">2</cx:pt>
          <cx:pt idx="6802">2</cx:pt>
          <cx:pt idx="6803">3</cx:pt>
          <cx:pt idx="6804">2</cx:pt>
          <cx:pt idx="6805">5</cx:pt>
          <cx:pt idx="6806">4</cx:pt>
          <cx:pt idx="6807">3</cx:pt>
          <cx:pt idx="6808">1</cx:pt>
          <cx:pt idx="6809">1</cx:pt>
          <cx:pt idx="6810">2</cx:pt>
          <cx:pt idx="6811">2</cx:pt>
          <cx:pt idx="6812">1</cx:pt>
          <cx:pt idx="6813">1</cx:pt>
          <cx:pt idx="6814">3</cx:pt>
          <cx:pt idx="6815">1</cx:pt>
          <cx:pt idx="6816">1</cx:pt>
          <cx:pt idx="6817">2</cx:pt>
          <cx:pt idx="6818">2</cx:pt>
          <cx:pt idx="6819">3</cx:pt>
          <cx:pt idx="6820">2</cx:pt>
          <cx:pt idx="6821">1</cx:pt>
          <cx:pt idx="6822">2</cx:pt>
          <cx:pt idx="6823">3</cx:pt>
          <cx:pt idx="6824">3</cx:pt>
          <cx:pt idx="6825">1</cx:pt>
          <cx:pt idx="6826">1</cx:pt>
          <cx:pt idx="6827">3</cx:pt>
          <cx:pt idx="6828">4</cx:pt>
          <cx:pt idx="6829">2</cx:pt>
          <cx:pt idx="6830">1</cx:pt>
          <cx:pt idx="6831">2</cx:pt>
          <cx:pt idx="6832">1</cx:pt>
          <cx:pt idx="6833">3</cx:pt>
          <cx:pt idx="6834">4</cx:pt>
          <cx:pt idx="6835">2</cx:pt>
          <cx:pt idx="6836">1</cx:pt>
          <cx:pt idx="6837">3</cx:pt>
          <cx:pt idx="6838">5</cx:pt>
          <cx:pt idx="6839">1</cx:pt>
          <cx:pt idx="6840">6</cx:pt>
          <cx:pt idx="6841">2</cx:pt>
          <cx:pt idx="6842">2</cx:pt>
          <cx:pt idx="6843">1</cx:pt>
          <cx:pt idx="6844">5</cx:pt>
          <cx:pt idx="6845">4</cx:pt>
          <cx:pt idx="6846">1</cx:pt>
          <cx:pt idx="6847">2</cx:pt>
          <cx:pt idx="6848">2</cx:pt>
          <cx:pt idx="6849">5</cx:pt>
          <cx:pt idx="6850">1</cx:pt>
          <cx:pt idx="6851">1</cx:pt>
          <cx:pt idx="6852">3</cx:pt>
          <cx:pt idx="6853">4</cx:pt>
          <cx:pt idx="6854">5</cx:pt>
          <cx:pt idx="6855">2</cx:pt>
          <cx:pt idx="6856">2</cx:pt>
          <cx:pt idx="6857">4</cx:pt>
          <cx:pt idx="6858">2</cx:pt>
          <cx:pt idx="6859">1</cx:pt>
          <cx:pt idx="6860">3</cx:pt>
          <cx:pt idx="6861">1</cx:pt>
          <cx:pt idx="6862">4</cx:pt>
          <cx:pt idx="6863">2</cx:pt>
          <cx:pt idx="6864">2</cx:pt>
          <cx:pt idx="6865">1</cx:pt>
          <cx:pt idx="6866">2</cx:pt>
          <cx:pt idx="6867">2</cx:pt>
          <cx:pt idx="6868">2</cx:pt>
          <cx:pt idx="6869">4</cx:pt>
          <cx:pt idx="6870">1</cx:pt>
          <cx:pt idx="6871">2</cx:pt>
          <cx:pt idx="6872">4</cx:pt>
          <cx:pt idx="6873">4</cx:pt>
          <cx:pt idx="6874">5</cx:pt>
          <cx:pt idx="6875">1</cx:pt>
          <cx:pt idx="6876">2</cx:pt>
          <cx:pt idx="6877">2</cx:pt>
          <cx:pt idx="6878">1</cx:pt>
          <cx:pt idx="6879">1</cx:pt>
          <cx:pt idx="6880">1</cx:pt>
          <cx:pt idx="6881">4</cx:pt>
          <cx:pt idx="6882">2</cx:pt>
          <cx:pt idx="6883">2</cx:pt>
          <cx:pt idx="6884">3</cx:pt>
          <cx:pt idx="6885">1</cx:pt>
          <cx:pt idx="6886">2</cx:pt>
          <cx:pt idx="6887">1</cx:pt>
          <cx:pt idx="6888">2</cx:pt>
          <cx:pt idx="6889">3</cx:pt>
          <cx:pt idx="6890">2</cx:pt>
          <cx:pt idx="6891">1</cx:pt>
          <cx:pt idx="6892">1</cx:pt>
          <cx:pt idx="6893">2</cx:pt>
          <cx:pt idx="6894">2</cx:pt>
          <cx:pt idx="6895">2</cx:pt>
          <cx:pt idx="6896">7</cx:pt>
          <cx:pt idx="6897">2</cx:pt>
          <cx:pt idx="6898">6</cx:pt>
          <cx:pt idx="6899">2</cx:pt>
          <cx:pt idx="6900">1</cx:pt>
          <cx:pt idx="6901">6</cx:pt>
          <cx:pt idx="6902">1</cx:pt>
          <cx:pt idx="6903">1</cx:pt>
          <cx:pt idx="6904">2</cx:pt>
          <cx:pt idx="6905">2</cx:pt>
          <cx:pt idx="6906">1</cx:pt>
          <cx:pt idx="6907">1</cx:pt>
          <cx:pt idx="6908">1</cx:pt>
          <cx:pt idx="6909">1</cx:pt>
          <cx:pt idx="6910">5</cx:pt>
          <cx:pt idx="6911">4</cx:pt>
          <cx:pt idx="6912">2</cx:pt>
          <cx:pt idx="6913">1</cx:pt>
          <cx:pt idx="6914">1</cx:pt>
          <cx:pt idx="6915">1</cx:pt>
          <cx:pt idx="6916">3</cx:pt>
          <cx:pt idx="6917">3</cx:pt>
          <cx:pt idx="6918">3</cx:pt>
          <cx:pt idx="6919">1</cx:pt>
          <cx:pt idx="6920">4</cx:pt>
          <cx:pt idx="6921">2</cx:pt>
          <cx:pt idx="6922">1</cx:pt>
          <cx:pt idx="6923">2</cx:pt>
          <cx:pt idx="6924">2</cx:pt>
          <cx:pt idx="6925">4</cx:pt>
          <cx:pt idx="6926">2</cx:pt>
          <cx:pt idx="6927">2</cx:pt>
          <cx:pt idx="6928">1</cx:pt>
          <cx:pt idx="6929">1</cx:pt>
          <cx:pt idx="6930">1</cx:pt>
          <cx:pt idx="6931">8</cx:pt>
          <cx:pt idx="6932">4</cx:pt>
          <cx:pt idx="6933">4</cx:pt>
          <cx:pt idx="6934">3</cx:pt>
          <cx:pt idx="6935">4</cx:pt>
          <cx:pt idx="6936">1</cx:pt>
          <cx:pt idx="6937">2</cx:pt>
          <cx:pt idx="6938">3</cx:pt>
          <cx:pt idx="6939">1</cx:pt>
          <cx:pt idx="6940">2</cx:pt>
          <cx:pt idx="6941">5</cx:pt>
          <cx:pt idx="6942">2</cx:pt>
          <cx:pt idx="6943">3</cx:pt>
          <cx:pt idx="6944">2</cx:pt>
          <cx:pt idx="6945">2</cx:pt>
          <cx:pt idx="6946">3</cx:pt>
          <cx:pt idx="6947">3</cx:pt>
          <cx:pt idx="6948">2</cx:pt>
          <cx:pt idx="6949">2</cx:pt>
          <cx:pt idx="6950">2</cx:pt>
          <cx:pt idx="6951">1</cx:pt>
          <cx:pt idx="6952">1</cx:pt>
          <cx:pt idx="6953">2</cx:pt>
          <cx:pt idx="6954">2</cx:pt>
          <cx:pt idx="6955">2</cx:pt>
          <cx:pt idx="6956">5</cx:pt>
          <cx:pt idx="6957">1</cx:pt>
          <cx:pt idx="6958">2</cx:pt>
          <cx:pt idx="6959">6</cx:pt>
          <cx:pt idx="6960">1</cx:pt>
          <cx:pt idx="6961">3</cx:pt>
          <cx:pt idx="6962">3</cx:pt>
          <cx:pt idx="6963">4</cx:pt>
          <cx:pt idx="6964">1</cx:pt>
          <cx:pt idx="6965">2</cx:pt>
          <cx:pt idx="6966">1</cx:pt>
          <cx:pt idx="6967">3</cx:pt>
          <cx:pt idx="6968">4</cx:pt>
          <cx:pt idx="6969">1</cx:pt>
          <cx:pt idx="6970">1</cx:pt>
          <cx:pt idx="6971">1</cx:pt>
          <cx:pt idx="6972">4</cx:pt>
          <cx:pt idx="6973">2</cx:pt>
          <cx:pt idx="6974">1</cx:pt>
          <cx:pt idx="6975">2</cx:pt>
          <cx:pt idx="6976">2</cx:pt>
          <cx:pt idx="6977">4</cx:pt>
          <cx:pt idx="6978">1</cx:pt>
          <cx:pt idx="6979">3</cx:pt>
          <cx:pt idx="6980">3</cx:pt>
          <cx:pt idx="6981">1</cx:pt>
          <cx:pt idx="6982">2</cx:pt>
          <cx:pt idx="6983">2</cx:pt>
          <cx:pt idx="6984">2</cx:pt>
          <cx:pt idx="6985">6</cx:pt>
          <cx:pt idx="6986">3</cx:pt>
          <cx:pt idx="6987">1</cx:pt>
          <cx:pt idx="6988">4</cx:pt>
          <cx:pt idx="6989">1</cx:pt>
          <cx:pt idx="6990">3</cx:pt>
          <cx:pt idx="6991">4</cx:pt>
          <cx:pt idx="6992">2</cx:pt>
          <cx:pt idx="6993">1</cx:pt>
          <cx:pt idx="6994">1</cx:pt>
          <cx:pt idx="6995">3</cx:pt>
          <cx:pt idx="6996">4</cx:pt>
          <cx:pt idx="6997">3</cx:pt>
          <cx:pt idx="6998">2</cx:pt>
          <cx:pt idx="6999">4</cx:pt>
          <cx:pt idx="7000">5</cx:pt>
          <cx:pt idx="7001">2</cx:pt>
          <cx:pt idx="7002">5</cx:pt>
          <cx:pt idx="7003">2</cx:pt>
          <cx:pt idx="7004">2</cx:pt>
          <cx:pt idx="7005">1</cx:pt>
          <cx:pt idx="7006">1</cx:pt>
          <cx:pt idx="7007">1</cx:pt>
          <cx:pt idx="7008">1</cx:pt>
          <cx:pt idx="7009">1</cx:pt>
          <cx:pt idx="7010">2</cx:pt>
          <cx:pt idx="7011">3</cx:pt>
          <cx:pt idx="7012">2</cx:pt>
          <cx:pt idx="7013">2</cx:pt>
          <cx:pt idx="7014">2</cx:pt>
          <cx:pt idx="7015">2</cx:pt>
          <cx:pt idx="7016">5</cx:pt>
          <cx:pt idx="7017">2</cx:pt>
          <cx:pt idx="7018">1</cx:pt>
          <cx:pt idx="7019">5</cx:pt>
          <cx:pt idx="7020">2</cx:pt>
          <cx:pt idx="7021">1</cx:pt>
          <cx:pt idx="7022">2</cx:pt>
          <cx:pt idx="7023">7</cx:pt>
          <cx:pt idx="7024">3</cx:pt>
          <cx:pt idx="7025">5</cx:pt>
          <cx:pt idx="7026">1</cx:pt>
          <cx:pt idx="7027">1</cx:pt>
          <cx:pt idx="7028">4</cx:pt>
          <cx:pt idx="7029">2</cx:pt>
          <cx:pt idx="7030">2</cx:pt>
          <cx:pt idx="7031">2</cx:pt>
          <cx:pt idx="7032">3</cx:pt>
          <cx:pt idx="7033">2</cx:pt>
          <cx:pt idx="7034">2</cx:pt>
          <cx:pt idx="7035">3</cx:pt>
          <cx:pt idx="7036">1</cx:pt>
          <cx:pt idx="7037">3</cx:pt>
          <cx:pt idx="7038">1</cx:pt>
          <cx:pt idx="7039">4</cx:pt>
          <cx:pt idx="7040">1</cx:pt>
          <cx:pt idx="7041">1</cx:pt>
          <cx:pt idx="7042">2</cx:pt>
          <cx:pt idx="7043">5</cx:pt>
          <cx:pt idx="7044">1</cx:pt>
          <cx:pt idx="7045">1</cx:pt>
          <cx:pt idx="7046">4</cx:pt>
          <cx:pt idx="7047">1</cx:pt>
          <cx:pt idx="7048">4</cx:pt>
          <cx:pt idx="7049">4</cx:pt>
          <cx:pt idx="7050">4</cx:pt>
          <cx:pt idx="7051">1</cx:pt>
          <cx:pt idx="7052">1</cx:pt>
          <cx:pt idx="7053">2</cx:pt>
          <cx:pt idx="7054">3</cx:pt>
          <cx:pt idx="7055">2</cx:pt>
          <cx:pt idx="7056">1</cx:pt>
          <cx:pt idx="7057">3</cx:pt>
          <cx:pt idx="7058">4</cx:pt>
          <cx:pt idx="7059">5</cx:pt>
          <cx:pt idx="7060">1</cx:pt>
          <cx:pt idx="7061">3</cx:pt>
          <cx:pt idx="7062">4</cx:pt>
          <cx:pt idx="7063">5</cx:pt>
          <cx:pt idx="7064">2</cx:pt>
          <cx:pt idx="7065">2</cx:pt>
          <cx:pt idx="7066">2</cx:pt>
          <cx:pt idx="7067">1</cx:pt>
          <cx:pt idx="7068">2</cx:pt>
          <cx:pt idx="7069">2</cx:pt>
          <cx:pt idx="7070">9</cx:pt>
          <cx:pt idx="7071">1</cx:pt>
          <cx:pt idx="7072">6</cx:pt>
          <cx:pt idx="7073">5</cx:pt>
          <cx:pt idx="7074">2</cx:pt>
          <cx:pt idx="7075">1</cx:pt>
          <cx:pt idx="7076">2</cx:pt>
          <cx:pt idx="7077">1</cx:pt>
          <cx:pt idx="7078">4</cx:pt>
          <cx:pt idx="7079">8</cx:pt>
          <cx:pt idx="7080">3</cx:pt>
          <cx:pt idx="7081">2</cx:pt>
          <cx:pt idx="7082">1</cx:pt>
          <cx:pt idx="7083">1</cx:pt>
          <cx:pt idx="7084">4</cx:pt>
          <cx:pt idx="7085">1</cx:pt>
          <cx:pt idx="7086">4</cx:pt>
          <cx:pt idx="7087">4</cx:pt>
          <cx:pt idx="7088">3</cx:pt>
          <cx:pt idx="7089">1</cx:pt>
          <cx:pt idx="7090">3</cx:pt>
          <cx:pt idx="7091">4</cx:pt>
          <cx:pt idx="7092">6</cx:pt>
          <cx:pt idx="7093">2</cx:pt>
          <cx:pt idx="7094">2</cx:pt>
          <cx:pt idx="7095">5</cx:pt>
          <cx:pt idx="7096">2</cx:pt>
          <cx:pt idx="7097">2</cx:pt>
          <cx:pt idx="7098">3</cx:pt>
          <cx:pt idx="7099">4</cx:pt>
          <cx:pt idx="7100">2</cx:pt>
          <cx:pt idx="7101">2</cx:pt>
          <cx:pt idx="7102">1</cx:pt>
          <cx:pt idx="7103">2</cx:pt>
          <cx:pt idx="7104">3</cx:pt>
          <cx:pt idx="7105">2</cx:pt>
          <cx:pt idx="7106">2</cx:pt>
          <cx:pt idx="7107">2</cx:pt>
          <cx:pt idx="7108">2</cx:pt>
          <cx:pt idx="7109">1</cx:pt>
          <cx:pt idx="7110">3</cx:pt>
          <cx:pt idx="7111">4</cx:pt>
          <cx:pt idx="7112">1</cx:pt>
          <cx:pt idx="7113">2</cx:pt>
          <cx:pt idx="7114">1</cx:pt>
          <cx:pt idx="7115">1</cx:pt>
          <cx:pt idx="7116">4</cx:pt>
          <cx:pt idx="7117">2</cx:pt>
          <cx:pt idx="7118">2</cx:pt>
          <cx:pt idx="7119">2</cx:pt>
          <cx:pt idx="7120">1</cx:pt>
          <cx:pt idx="7121">2</cx:pt>
          <cx:pt idx="7122">2</cx:pt>
          <cx:pt idx="7123">2</cx:pt>
          <cx:pt idx="7124">4</cx:pt>
          <cx:pt idx="7125">1</cx:pt>
          <cx:pt idx="7126">1</cx:pt>
          <cx:pt idx="7127">1</cx:pt>
          <cx:pt idx="7128">2</cx:pt>
          <cx:pt idx="7129">2</cx:pt>
          <cx:pt idx="7130">6</cx:pt>
          <cx:pt idx="7131">4</cx:pt>
          <cx:pt idx="7132">3</cx:pt>
          <cx:pt idx="7133">1</cx:pt>
          <cx:pt idx="7134">2</cx:pt>
          <cx:pt idx="7135">3</cx:pt>
          <cx:pt idx="7136">1</cx:pt>
          <cx:pt idx="7137">1</cx:pt>
          <cx:pt idx="7138">1</cx:pt>
          <cx:pt idx="7139">1</cx:pt>
          <cx:pt idx="7140">1</cx:pt>
          <cx:pt idx="7141">2</cx:pt>
          <cx:pt idx="7142">2</cx:pt>
          <cx:pt idx="7143">1</cx:pt>
          <cx:pt idx="7144">3</cx:pt>
          <cx:pt idx="7145">1</cx:pt>
          <cx:pt idx="7146">5</cx:pt>
          <cx:pt idx="7147">1</cx:pt>
          <cx:pt idx="7148">2</cx:pt>
          <cx:pt idx="7149">2</cx:pt>
          <cx:pt idx="7150">2</cx:pt>
          <cx:pt idx="7151">3</cx:pt>
          <cx:pt idx="7152">1</cx:pt>
          <cx:pt idx="7153">3</cx:pt>
          <cx:pt idx="7154">3</cx:pt>
          <cx:pt idx="7155">4</cx:pt>
          <cx:pt idx="7156">2</cx:pt>
          <cx:pt idx="7157">1</cx:pt>
          <cx:pt idx="7158">2</cx:pt>
          <cx:pt idx="7159">2</cx:pt>
          <cx:pt idx="7160">1</cx:pt>
          <cx:pt idx="7161">1</cx:pt>
          <cx:pt idx="7162">2</cx:pt>
          <cx:pt idx="7163">1</cx:pt>
          <cx:pt idx="7164">1</cx:pt>
          <cx:pt idx="7165">3</cx:pt>
          <cx:pt idx="7166">2</cx:pt>
          <cx:pt idx="7167">2</cx:pt>
          <cx:pt idx="7168">1</cx:pt>
          <cx:pt idx="7169">1</cx:pt>
          <cx:pt idx="7170">4</cx:pt>
          <cx:pt idx="7171">2</cx:pt>
          <cx:pt idx="7172">3</cx:pt>
          <cx:pt idx="7173">4</cx:pt>
          <cx:pt idx="7174">1</cx:pt>
          <cx:pt idx="7175">2</cx:pt>
          <cx:pt idx="7176">4</cx:pt>
          <cx:pt idx="7177">2</cx:pt>
          <cx:pt idx="7178">3</cx:pt>
          <cx:pt idx="7179">2</cx:pt>
          <cx:pt idx="7180">6</cx:pt>
          <cx:pt idx="7181">4</cx:pt>
          <cx:pt idx="7182">2</cx:pt>
          <cx:pt idx="7183">2</cx:pt>
          <cx:pt idx="7184">4</cx:pt>
          <cx:pt idx="7185">1</cx:pt>
          <cx:pt idx="7186">1</cx:pt>
          <cx:pt idx="7187">1</cx:pt>
          <cx:pt idx="7188">4</cx:pt>
          <cx:pt idx="7189">3</cx:pt>
          <cx:pt idx="7190">3</cx:pt>
          <cx:pt idx="7191">3</cx:pt>
          <cx:pt idx="7192">1</cx:pt>
          <cx:pt idx="7193">1</cx:pt>
          <cx:pt idx="7194">3</cx:pt>
          <cx:pt idx="7195">2</cx:pt>
          <cx:pt idx="7196">1</cx:pt>
          <cx:pt idx="7197">6</cx:pt>
          <cx:pt idx="7198">2</cx:pt>
          <cx:pt idx="7199">4</cx:pt>
          <cx:pt idx="7200">2</cx:pt>
          <cx:pt idx="7201">2</cx:pt>
          <cx:pt idx="7202">2</cx:pt>
          <cx:pt idx="7203">3</cx:pt>
          <cx:pt idx="7204">1</cx:pt>
          <cx:pt idx="7205">3</cx:pt>
          <cx:pt idx="7206">5</cx:pt>
          <cx:pt idx="7207">2</cx:pt>
          <cx:pt idx="7208">2</cx:pt>
          <cx:pt idx="7209">1</cx:pt>
          <cx:pt idx="7210">1</cx:pt>
          <cx:pt idx="7211">1</cx:pt>
          <cx:pt idx="7212">1</cx:pt>
          <cx:pt idx="7213">1</cx:pt>
          <cx:pt idx="7214">5</cx:pt>
          <cx:pt idx="7215">2</cx:pt>
          <cx:pt idx="7216">2</cx:pt>
          <cx:pt idx="7217">5</cx:pt>
          <cx:pt idx="7218">2</cx:pt>
          <cx:pt idx="7219">2</cx:pt>
          <cx:pt idx="7220">1</cx:pt>
          <cx:pt idx="7221">8</cx:pt>
          <cx:pt idx="7222">2</cx:pt>
          <cx:pt idx="7223">1</cx:pt>
          <cx:pt idx="7224">3</cx:pt>
          <cx:pt idx="7225">4</cx:pt>
          <cx:pt idx="7226">1</cx:pt>
          <cx:pt idx="7227">3</cx:pt>
          <cx:pt idx="7228">2</cx:pt>
          <cx:pt idx="7229">1</cx:pt>
          <cx:pt idx="7230">2</cx:pt>
          <cx:pt idx="7231">1</cx:pt>
          <cx:pt idx="7232">1</cx:pt>
          <cx:pt idx="7233">3</cx:pt>
          <cx:pt idx="7234">2</cx:pt>
          <cx:pt idx="7235">2</cx:pt>
          <cx:pt idx="7236">1</cx:pt>
          <cx:pt idx="7237">1</cx:pt>
          <cx:pt idx="7238">2</cx:pt>
          <cx:pt idx="7239">2</cx:pt>
          <cx:pt idx="7240">3</cx:pt>
          <cx:pt idx="7241">4</cx:pt>
          <cx:pt idx="7242">3</cx:pt>
          <cx:pt idx="7243">2</cx:pt>
          <cx:pt idx="7244">2</cx:pt>
          <cx:pt idx="7245">3</cx:pt>
          <cx:pt idx="7246">3</cx:pt>
          <cx:pt idx="7247">3</cx:pt>
          <cx:pt idx="7248">3</cx:pt>
          <cx:pt idx="7249">2</cx:pt>
          <cx:pt idx="7250">1</cx:pt>
          <cx:pt idx="7251">3</cx:pt>
          <cx:pt idx="7252">2</cx:pt>
          <cx:pt idx="7253">1</cx:pt>
          <cx:pt idx="7254">1</cx:pt>
          <cx:pt idx="7255">1</cx:pt>
          <cx:pt idx="7256">2</cx:pt>
          <cx:pt idx="7257">1</cx:pt>
          <cx:pt idx="7258">2</cx:pt>
          <cx:pt idx="7259">1</cx:pt>
          <cx:pt idx="7260">2</cx:pt>
          <cx:pt idx="7261">4</cx:pt>
          <cx:pt idx="7262">3</cx:pt>
          <cx:pt idx="7263">4</cx:pt>
          <cx:pt idx="7264">2</cx:pt>
          <cx:pt idx="7265">2</cx:pt>
          <cx:pt idx="7266">2</cx:pt>
          <cx:pt idx="7267">2</cx:pt>
          <cx:pt idx="7268">2</cx:pt>
          <cx:pt idx="7269">2</cx:pt>
          <cx:pt idx="7270">2</cx:pt>
          <cx:pt idx="7271">3</cx:pt>
          <cx:pt idx="7272">1</cx:pt>
          <cx:pt idx="7273">1</cx:pt>
          <cx:pt idx="7274">1</cx:pt>
          <cx:pt idx="7275">1</cx:pt>
          <cx:pt idx="7276">2</cx:pt>
          <cx:pt idx="7277">2</cx:pt>
          <cx:pt idx="7278">1</cx:pt>
          <cx:pt idx="7279">3</cx:pt>
          <cx:pt idx="7280">2</cx:pt>
          <cx:pt idx="7281">2</cx:pt>
          <cx:pt idx="7282">5</cx:pt>
          <cx:pt idx="7283">1</cx:pt>
          <cx:pt idx="7284">2</cx:pt>
          <cx:pt idx="7285">1</cx:pt>
          <cx:pt idx="7286">1</cx:pt>
          <cx:pt idx="7287">3</cx:pt>
          <cx:pt idx="7288">5</cx:pt>
          <cx:pt idx="7289">1</cx:pt>
          <cx:pt idx="7290">1</cx:pt>
          <cx:pt idx="7291">2</cx:pt>
          <cx:pt idx="7292">4</cx:pt>
          <cx:pt idx="7293">1</cx:pt>
          <cx:pt idx="7294">2</cx:pt>
          <cx:pt idx="7295">1</cx:pt>
          <cx:pt idx="7296">1</cx:pt>
          <cx:pt idx="7297">1</cx:pt>
          <cx:pt idx="7298">2</cx:pt>
          <cx:pt idx="7299">2</cx:pt>
          <cx:pt idx="7300">1</cx:pt>
          <cx:pt idx="7301">3</cx:pt>
          <cx:pt idx="7302">1</cx:pt>
          <cx:pt idx="7303">3</cx:pt>
          <cx:pt idx="7304">1</cx:pt>
          <cx:pt idx="7305">2</cx:pt>
          <cx:pt idx="7306">3</cx:pt>
          <cx:pt idx="7307">3</cx:pt>
          <cx:pt idx="7308">4</cx:pt>
          <cx:pt idx="7309">1</cx:pt>
          <cx:pt idx="7310">3</cx:pt>
          <cx:pt idx="7311">3</cx:pt>
          <cx:pt idx="7312">3</cx:pt>
          <cx:pt idx="7313">2</cx:pt>
          <cx:pt idx="7314">4</cx:pt>
          <cx:pt idx="7315">4</cx:pt>
          <cx:pt idx="7316">3</cx:pt>
          <cx:pt idx="7317">2</cx:pt>
          <cx:pt idx="7318">4</cx:pt>
          <cx:pt idx="7319">3</cx:pt>
          <cx:pt idx="7320">4</cx:pt>
          <cx:pt idx="7321">4</cx:pt>
          <cx:pt idx="7322">1</cx:pt>
          <cx:pt idx="7323">3</cx:pt>
          <cx:pt idx="7324">3</cx:pt>
          <cx:pt idx="7325">2</cx:pt>
          <cx:pt idx="7326">1</cx:pt>
          <cx:pt idx="7327">1</cx:pt>
          <cx:pt idx="7328">2</cx:pt>
          <cx:pt idx="7329">1</cx:pt>
          <cx:pt idx="7330">1</cx:pt>
          <cx:pt idx="7331">4</cx:pt>
          <cx:pt idx="7332">4</cx:pt>
          <cx:pt idx="7333">2</cx:pt>
          <cx:pt idx="7334">1</cx:pt>
          <cx:pt idx="7335">5</cx:pt>
          <cx:pt idx="7336">1</cx:pt>
          <cx:pt idx="7337">1</cx:pt>
          <cx:pt idx="7338">1</cx:pt>
          <cx:pt idx="7339">3</cx:pt>
          <cx:pt idx="7340">1</cx:pt>
          <cx:pt idx="7341">1</cx:pt>
          <cx:pt idx="7342">3</cx:pt>
          <cx:pt idx="7343">3</cx:pt>
          <cx:pt idx="7344">2</cx:pt>
          <cx:pt idx="7345">1</cx:pt>
          <cx:pt idx="7346">2</cx:pt>
          <cx:pt idx="7347">2</cx:pt>
          <cx:pt idx="7348">4</cx:pt>
          <cx:pt idx="7349">2</cx:pt>
          <cx:pt idx="7350">1</cx:pt>
          <cx:pt idx="7351">3</cx:pt>
          <cx:pt idx="7352">4</cx:pt>
          <cx:pt idx="7353">3</cx:pt>
          <cx:pt idx="7354">1</cx:pt>
          <cx:pt idx="7355">1</cx:pt>
          <cx:pt idx="7356">1</cx:pt>
          <cx:pt idx="7357">5</cx:pt>
          <cx:pt idx="7358">3</cx:pt>
          <cx:pt idx="7359">4</cx:pt>
          <cx:pt idx="7360">1</cx:pt>
          <cx:pt idx="7361">1</cx:pt>
          <cx:pt idx="7362">3</cx:pt>
          <cx:pt idx="7363">4</cx:pt>
          <cx:pt idx="7364">6</cx:pt>
          <cx:pt idx="7365">2</cx:pt>
          <cx:pt idx="7366">1</cx:pt>
          <cx:pt idx="7367">2</cx:pt>
          <cx:pt idx="7368">4</cx:pt>
          <cx:pt idx="7369">1</cx:pt>
          <cx:pt idx="7370">3</cx:pt>
          <cx:pt idx="7371">2</cx:pt>
          <cx:pt idx="7372">2</cx:pt>
          <cx:pt idx="7373">4</cx:pt>
          <cx:pt idx="7374">1</cx:pt>
          <cx:pt idx="7375">2</cx:pt>
          <cx:pt idx="7376">5</cx:pt>
          <cx:pt idx="7377">5</cx:pt>
          <cx:pt idx="7378">6</cx:pt>
          <cx:pt idx="7379">1</cx:pt>
          <cx:pt idx="7380">5</cx:pt>
          <cx:pt idx="7381">2</cx:pt>
          <cx:pt idx="7382">1</cx:pt>
          <cx:pt idx="7383">2</cx:pt>
          <cx:pt idx="7384">6</cx:pt>
          <cx:pt idx="7385">1</cx:pt>
          <cx:pt idx="7386">1</cx:pt>
          <cx:pt idx="7387">2</cx:pt>
          <cx:pt idx="7388">1</cx:pt>
          <cx:pt idx="7389">5</cx:pt>
          <cx:pt idx="7390">3</cx:pt>
          <cx:pt idx="7391">1</cx:pt>
          <cx:pt idx="7392">3</cx:pt>
          <cx:pt idx="7393">3</cx:pt>
          <cx:pt idx="7394">3</cx:pt>
          <cx:pt idx="7395">6</cx:pt>
          <cx:pt idx="7396">2</cx:pt>
          <cx:pt idx="7397">2</cx:pt>
          <cx:pt idx="7398">2</cx:pt>
          <cx:pt idx="7399">2</cx:pt>
          <cx:pt idx="7400">6</cx:pt>
          <cx:pt idx="7401">4</cx:pt>
          <cx:pt idx="7402">4</cx:pt>
          <cx:pt idx="7403">2</cx:pt>
          <cx:pt idx="7404">2</cx:pt>
          <cx:pt idx="7405">3</cx:pt>
          <cx:pt idx="7406">1</cx:pt>
          <cx:pt idx="7407">3</cx:pt>
          <cx:pt idx="7408">2</cx:pt>
          <cx:pt idx="7409">2</cx:pt>
          <cx:pt idx="7410">4</cx:pt>
          <cx:pt idx="7411">3</cx:pt>
          <cx:pt idx="7412">3</cx:pt>
          <cx:pt idx="7413">3</cx:pt>
          <cx:pt idx="7414">2</cx:pt>
          <cx:pt idx="7415">1</cx:pt>
          <cx:pt idx="7416">3</cx:pt>
          <cx:pt idx="7417">1</cx:pt>
          <cx:pt idx="7418">1</cx:pt>
          <cx:pt idx="7419">1</cx:pt>
          <cx:pt idx="7420">2</cx:pt>
          <cx:pt idx="7421">6</cx:pt>
          <cx:pt idx="7422">3</cx:pt>
          <cx:pt idx="7423">1</cx:pt>
          <cx:pt idx="7424">3</cx:pt>
          <cx:pt idx="7425">8</cx:pt>
          <cx:pt idx="7426">3</cx:pt>
          <cx:pt idx="7427">1</cx:pt>
          <cx:pt idx="7428">3</cx:pt>
          <cx:pt idx="7429">5</cx:pt>
          <cx:pt idx="7430">1</cx:pt>
          <cx:pt idx="7431">2</cx:pt>
          <cx:pt idx="7432">1</cx:pt>
          <cx:pt idx="7433">1</cx:pt>
          <cx:pt idx="7434">2</cx:pt>
          <cx:pt idx="7435">2</cx:pt>
          <cx:pt idx="7436">1</cx:pt>
          <cx:pt idx="7437">1</cx:pt>
          <cx:pt idx="7438">4</cx:pt>
          <cx:pt idx="7439">2</cx:pt>
          <cx:pt idx="7440">4</cx:pt>
          <cx:pt idx="7441">1</cx:pt>
          <cx:pt idx="7442">3</cx:pt>
          <cx:pt idx="7443">3</cx:pt>
          <cx:pt idx="7444">3</cx:pt>
          <cx:pt idx="7445">4</cx:pt>
          <cx:pt idx="7446">1</cx:pt>
          <cx:pt idx="7447">2</cx:pt>
          <cx:pt idx="7448">1</cx:pt>
          <cx:pt idx="7449">2</cx:pt>
          <cx:pt idx="7450">4</cx:pt>
          <cx:pt idx="7451">1</cx:pt>
          <cx:pt idx="7452">1</cx:pt>
          <cx:pt idx="7453">2</cx:pt>
          <cx:pt idx="7454">5</cx:pt>
          <cx:pt idx="7455">1</cx:pt>
          <cx:pt idx="7456">1</cx:pt>
          <cx:pt idx="7457">3</cx:pt>
          <cx:pt idx="7458">4</cx:pt>
          <cx:pt idx="7459">1</cx:pt>
          <cx:pt idx="7460">1</cx:pt>
          <cx:pt idx="7461">2</cx:pt>
          <cx:pt idx="7462">1</cx:pt>
          <cx:pt idx="7463">1</cx:pt>
          <cx:pt idx="7464">1</cx:pt>
          <cx:pt idx="7465">3</cx:pt>
          <cx:pt idx="7466">2</cx:pt>
          <cx:pt idx="7467">3</cx:pt>
          <cx:pt idx="7468">1</cx:pt>
          <cx:pt idx="7469">3</cx:pt>
          <cx:pt idx="7470">2</cx:pt>
          <cx:pt idx="7471">2</cx:pt>
          <cx:pt idx="7472">2</cx:pt>
          <cx:pt idx="7473">1</cx:pt>
          <cx:pt idx="7474">4</cx:pt>
          <cx:pt idx="7475">3</cx:pt>
          <cx:pt idx="7476">5</cx:pt>
          <cx:pt idx="7477">1</cx:pt>
          <cx:pt idx="7478">2</cx:pt>
          <cx:pt idx="7479">7</cx:pt>
          <cx:pt idx="7480">1</cx:pt>
          <cx:pt idx="7481">2</cx:pt>
          <cx:pt idx="7482">3</cx:pt>
          <cx:pt idx="7483">2</cx:pt>
          <cx:pt idx="7484">3</cx:pt>
          <cx:pt idx="7485">1</cx:pt>
          <cx:pt idx="7486">1</cx:pt>
          <cx:pt idx="7487">1</cx:pt>
          <cx:pt idx="7488">2</cx:pt>
          <cx:pt idx="7489">1</cx:pt>
          <cx:pt idx="7490">1</cx:pt>
          <cx:pt idx="7491">1</cx:pt>
          <cx:pt idx="7492">1</cx:pt>
          <cx:pt idx="7493">2</cx:pt>
          <cx:pt idx="7494">1</cx:pt>
          <cx:pt idx="7495">1</cx:pt>
          <cx:pt idx="7496">1</cx:pt>
          <cx:pt idx="7497">2</cx:pt>
          <cx:pt idx="7498">1</cx:pt>
          <cx:pt idx="7499">2</cx:pt>
          <cx:pt idx="7500">1</cx:pt>
          <cx:pt idx="7501">1</cx:pt>
          <cx:pt idx="7502">1</cx:pt>
          <cx:pt idx="7503">1</cx:pt>
          <cx:pt idx="7504">1</cx:pt>
          <cx:pt idx="7505">4</cx:pt>
          <cx:pt idx="7506">3</cx:pt>
          <cx:pt idx="7507">3</cx:pt>
          <cx:pt idx="7508">2</cx:pt>
          <cx:pt idx="7509">2</cx:pt>
          <cx:pt idx="7510">1</cx:pt>
          <cx:pt idx="7511">1</cx:pt>
          <cx:pt idx="7512">1</cx:pt>
          <cx:pt idx="7513">2</cx:pt>
          <cx:pt idx="7514">2</cx:pt>
          <cx:pt idx="7515">1</cx:pt>
          <cx:pt idx="7516">2</cx:pt>
          <cx:pt idx="7517">1</cx:pt>
          <cx:pt idx="7518">4</cx:pt>
          <cx:pt idx="7519">1</cx:pt>
          <cx:pt idx="7520">1</cx:pt>
          <cx:pt idx="7521">2</cx:pt>
          <cx:pt idx="7522">2</cx:pt>
          <cx:pt idx="7523">1</cx:pt>
          <cx:pt idx="7524">2</cx:pt>
          <cx:pt idx="7525">2</cx:pt>
          <cx:pt idx="7526">2</cx:pt>
          <cx:pt idx="7527">1</cx:pt>
          <cx:pt idx="7528">5</cx:pt>
          <cx:pt idx="7529">6</cx:pt>
          <cx:pt idx="7530">3</cx:pt>
          <cx:pt idx="7531">6</cx:pt>
          <cx:pt idx="7532">1</cx:pt>
          <cx:pt idx="7533">1</cx:pt>
          <cx:pt idx="7534">1</cx:pt>
          <cx:pt idx="7535">3</cx:pt>
          <cx:pt idx="7536">4</cx:pt>
          <cx:pt idx="7537">2</cx:pt>
          <cx:pt idx="7538">1</cx:pt>
          <cx:pt idx="7539">1</cx:pt>
          <cx:pt idx="7540">1</cx:pt>
          <cx:pt idx="7541">2</cx:pt>
          <cx:pt idx="7542">3</cx:pt>
          <cx:pt idx="7543">1</cx:pt>
          <cx:pt idx="7544">1</cx:pt>
          <cx:pt idx="7545">2</cx:pt>
          <cx:pt idx="7546">2</cx:pt>
          <cx:pt idx="7547">1</cx:pt>
          <cx:pt idx="7548">1</cx:pt>
          <cx:pt idx="7549">2</cx:pt>
          <cx:pt idx="7550">1</cx:pt>
          <cx:pt idx="7551">1</cx:pt>
          <cx:pt idx="7552">1</cx:pt>
          <cx:pt idx="7553">2</cx:pt>
          <cx:pt idx="7554">3</cx:pt>
          <cx:pt idx="7555">1</cx:pt>
          <cx:pt idx="7556">1</cx:pt>
          <cx:pt idx="7557">2</cx:pt>
          <cx:pt idx="7558">1</cx:pt>
          <cx:pt idx="7559">1</cx:pt>
          <cx:pt idx="7560">2</cx:pt>
          <cx:pt idx="7561">4</cx:pt>
          <cx:pt idx="7562">4</cx:pt>
          <cx:pt idx="7563">1</cx:pt>
          <cx:pt idx="7564">2</cx:pt>
          <cx:pt idx="7565">1</cx:pt>
          <cx:pt idx="7566">1</cx:pt>
          <cx:pt idx="7567">1</cx:pt>
          <cx:pt idx="7568">3</cx:pt>
          <cx:pt idx="7569">1</cx:pt>
          <cx:pt idx="7570">4</cx:pt>
          <cx:pt idx="7571">3</cx:pt>
          <cx:pt idx="7572">4</cx:pt>
          <cx:pt idx="7573">2</cx:pt>
          <cx:pt idx="7574">3</cx:pt>
          <cx:pt idx="7575">4</cx:pt>
          <cx:pt idx="7576">3</cx:pt>
          <cx:pt idx="7577">4</cx:pt>
          <cx:pt idx="7578">3</cx:pt>
          <cx:pt idx="7579">1</cx:pt>
          <cx:pt idx="7580">1</cx:pt>
          <cx:pt idx="7581">7</cx:pt>
          <cx:pt idx="7582">1</cx:pt>
          <cx:pt idx="7583">2</cx:pt>
          <cx:pt idx="7584">1</cx:pt>
          <cx:pt idx="7585">4</cx:pt>
          <cx:pt idx="7586">2</cx:pt>
          <cx:pt idx="7587">1</cx:pt>
          <cx:pt idx="7588">1</cx:pt>
          <cx:pt idx="7589">5</cx:pt>
          <cx:pt idx="7590">1</cx:pt>
          <cx:pt idx="7591">2</cx:pt>
          <cx:pt idx="7592">2</cx:pt>
          <cx:pt idx="7593">4</cx:pt>
          <cx:pt idx="7594">2</cx:pt>
          <cx:pt idx="7595">3</cx:pt>
          <cx:pt idx="7596">1</cx:pt>
          <cx:pt idx="7597">2</cx:pt>
          <cx:pt idx="7598">1</cx:pt>
          <cx:pt idx="7599">2</cx:pt>
          <cx:pt idx="7600">2</cx:pt>
          <cx:pt idx="7601">2</cx:pt>
          <cx:pt idx="7602">2</cx:pt>
          <cx:pt idx="7603">1</cx:pt>
          <cx:pt idx="7604">3</cx:pt>
          <cx:pt idx="7605">5</cx:pt>
          <cx:pt idx="7606">1</cx:pt>
          <cx:pt idx="7607">1</cx:pt>
          <cx:pt idx="7608">1</cx:pt>
          <cx:pt idx="7609">1</cx:pt>
          <cx:pt idx="7610">3</cx:pt>
          <cx:pt idx="7611">1</cx:pt>
          <cx:pt idx="7612">2</cx:pt>
          <cx:pt idx="7613">4</cx:pt>
          <cx:pt idx="7614">1</cx:pt>
          <cx:pt idx="7615">1</cx:pt>
          <cx:pt idx="7616">5</cx:pt>
          <cx:pt idx="7617">4</cx:pt>
          <cx:pt idx="7618">1</cx:pt>
          <cx:pt idx="7619">3</cx:pt>
          <cx:pt idx="7620">1</cx:pt>
          <cx:pt idx="7621">1</cx:pt>
          <cx:pt idx="7622">2</cx:pt>
          <cx:pt idx="7623">1</cx:pt>
          <cx:pt idx="7624">8</cx:pt>
          <cx:pt idx="7625">1</cx:pt>
          <cx:pt idx="7626">4</cx:pt>
          <cx:pt idx="7627">2</cx:pt>
          <cx:pt idx="7628">4</cx:pt>
          <cx:pt idx="7629">2</cx:pt>
          <cx:pt idx="7630">2</cx:pt>
          <cx:pt idx="7631">1</cx:pt>
          <cx:pt idx="7632">2</cx:pt>
          <cx:pt idx="7633">1</cx:pt>
          <cx:pt idx="7634">3</cx:pt>
          <cx:pt idx="7635">1</cx:pt>
          <cx:pt idx="7636">2</cx:pt>
          <cx:pt idx="7637">4</cx:pt>
          <cx:pt idx="7638">2</cx:pt>
          <cx:pt idx="7639">2</cx:pt>
          <cx:pt idx="7640">2</cx:pt>
          <cx:pt idx="7641">1</cx:pt>
          <cx:pt idx="7642">1</cx:pt>
          <cx:pt idx="7643">2</cx:pt>
          <cx:pt idx="7644">1</cx:pt>
          <cx:pt idx="7645">2</cx:pt>
          <cx:pt idx="7646">2</cx:pt>
          <cx:pt idx="7647">2</cx:pt>
          <cx:pt idx="7648">2</cx:pt>
          <cx:pt idx="7649">2</cx:pt>
          <cx:pt idx="7650">3</cx:pt>
          <cx:pt idx="7651">4</cx:pt>
          <cx:pt idx="7652">3</cx:pt>
          <cx:pt idx="7653">2</cx:pt>
          <cx:pt idx="7654">2</cx:pt>
          <cx:pt idx="7655">1</cx:pt>
          <cx:pt idx="7656">2</cx:pt>
          <cx:pt idx="7657">2</cx:pt>
          <cx:pt idx="7658">1</cx:pt>
          <cx:pt idx="7659">1</cx:pt>
          <cx:pt idx="7660">4</cx:pt>
          <cx:pt idx="7661">6</cx:pt>
          <cx:pt idx="7662">1</cx:pt>
          <cx:pt idx="7663">1</cx:pt>
          <cx:pt idx="7664">4</cx:pt>
          <cx:pt idx="7665">1</cx:pt>
          <cx:pt idx="7666">2</cx:pt>
          <cx:pt idx="7667">4</cx:pt>
          <cx:pt idx="7668">3</cx:pt>
          <cx:pt idx="7669">3</cx:pt>
          <cx:pt idx="7670">2</cx:pt>
          <cx:pt idx="7671">2</cx:pt>
          <cx:pt idx="7672">1</cx:pt>
          <cx:pt idx="7673">4</cx:pt>
          <cx:pt idx="7674">6</cx:pt>
          <cx:pt idx="7675">1</cx:pt>
          <cx:pt idx="7676">1</cx:pt>
          <cx:pt idx="7677">1</cx:pt>
          <cx:pt idx="7678">1</cx:pt>
          <cx:pt idx="7679">3</cx:pt>
          <cx:pt idx="7680">3</cx:pt>
          <cx:pt idx="7681">2</cx:pt>
          <cx:pt idx="7682">1</cx:pt>
          <cx:pt idx="7683">1</cx:pt>
          <cx:pt idx="7684">2</cx:pt>
          <cx:pt idx="7685">3</cx:pt>
          <cx:pt idx="7686">2</cx:pt>
          <cx:pt idx="7687">3</cx:pt>
          <cx:pt idx="7688">1</cx:pt>
          <cx:pt idx="7689">2</cx:pt>
          <cx:pt idx="7690">5</cx:pt>
          <cx:pt idx="7691">1</cx:pt>
          <cx:pt idx="7692">1</cx:pt>
          <cx:pt idx="7693">1</cx:pt>
          <cx:pt idx="7694">2</cx:pt>
          <cx:pt idx="7695">2</cx:pt>
          <cx:pt idx="7696">1</cx:pt>
          <cx:pt idx="7697">4</cx:pt>
          <cx:pt idx="7698">5</cx:pt>
          <cx:pt idx="7699">3</cx:pt>
          <cx:pt idx="7700">6</cx:pt>
          <cx:pt idx="7701">4</cx:pt>
          <cx:pt idx="7702">2</cx:pt>
          <cx:pt idx="7703">2</cx:pt>
          <cx:pt idx="7704">2</cx:pt>
          <cx:pt idx="7705">1</cx:pt>
          <cx:pt idx="7706">3</cx:pt>
          <cx:pt idx="7707">1</cx:pt>
          <cx:pt idx="7708">3</cx:pt>
          <cx:pt idx="7709">2</cx:pt>
          <cx:pt idx="7710">1</cx:pt>
          <cx:pt idx="7711">1</cx:pt>
          <cx:pt idx="7712">3</cx:pt>
          <cx:pt idx="7713">2</cx:pt>
          <cx:pt idx="7714">2</cx:pt>
          <cx:pt idx="7715">3</cx:pt>
          <cx:pt idx="7716">2</cx:pt>
          <cx:pt idx="7717">3</cx:pt>
          <cx:pt idx="7718">4</cx:pt>
          <cx:pt idx="7719">2</cx:pt>
          <cx:pt idx="7720">4</cx:pt>
          <cx:pt idx="7721">1</cx:pt>
          <cx:pt idx="7722">1</cx:pt>
          <cx:pt idx="7723">2</cx:pt>
          <cx:pt idx="7724">2</cx:pt>
          <cx:pt idx="7725">3</cx:pt>
          <cx:pt idx="7726">3</cx:pt>
          <cx:pt idx="7727">5</cx:pt>
          <cx:pt idx="7728">3</cx:pt>
          <cx:pt idx="7729">5</cx:pt>
          <cx:pt idx="7730">1</cx:pt>
          <cx:pt idx="7731">2</cx:pt>
          <cx:pt idx="7732">1</cx:pt>
          <cx:pt idx="7733">2</cx:pt>
          <cx:pt idx="7734">2</cx:pt>
          <cx:pt idx="7735">1</cx:pt>
          <cx:pt idx="7736">3</cx:pt>
          <cx:pt idx="7737">2</cx:pt>
          <cx:pt idx="7738">2</cx:pt>
          <cx:pt idx="7739">1</cx:pt>
          <cx:pt idx="7740">2</cx:pt>
          <cx:pt idx="7741">1</cx:pt>
          <cx:pt idx="7742">2</cx:pt>
          <cx:pt idx="7743">3</cx:pt>
          <cx:pt idx="7744">2</cx:pt>
          <cx:pt idx="7745">4</cx:pt>
          <cx:pt idx="7746">3</cx:pt>
          <cx:pt idx="7747">2</cx:pt>
          <cx:pt idx="7748">3</cx:pt>
          <cx:pt idx="7749">3</cx:pt>
          <cx:pt idx="7750">3</cx:pt>
          <cx:pt idx="7751">3</cx:pt>
          <cx:pt idx="7752">2</cx:pt>
          <cx:pt idx="7753">1</cx:pt>
          <cx:pt idx="7754">5</cx:pt>
          <cx:pt idx="7755">3</cx:pt>
          <cx:pt idx="7756">3</cx:pt>
          <cx:pt idx="7757">1</cx:pt>
          <cx:pt idx="7758">2</cx:pt>
          <cx:pt idx="7759">2</cx:pt>
          <cx:pt idx="7760">3</cx:pt>
          <cx:pt idx="7761">1</cx:pt>
          <cx:pt idx="7762">3</cx:pt>
          <cx:pt idx="7763">6</cx:pt>
          <cx:pt idx="7764">4</cx:pt>
          <cx:pt idx="7765">1</cx:pt>
          <cx:pt idx="7766">1</cx:pt>
          <cx:pt idx="7767">1</cx:pt>
          <cx:pt idx="7768">2</cx:pt>
          <cx:pt idx="7769">1</cx:pt>
          <cx:pt idx="7770">3</cx:pt>
          <cx:pt idx="7771">4</cx:pt>
          <cx:pt idx="7772">2</cx:pt>
          <cx:pt idx="7773">4</cx:pt>
          <cx:pt idx="7774">2</cx:pt>
          <cx:pt idx="7775">1</cx:pt>
          <cx:pt idx="7776">5</cx:pt>
          <cx:pt idx="7777">1</cx:pt>
          <cx:pt idx="7778">2</cx:pt>
          <cx:pt idx="7779">4</cx:pt>
          <cx:pt idx="7780">3</cx:pt>
          <cx:pt idx="7781">1</cx:pt>
          <cx:pt idx="7782">6</cx:pt>
          <cx:pt idx="7783">4</cx:pt>
          <cx:pt idx="7784">2</cx:pt>
          <cx:pt idx="7785">2</cx:pt>
          <cx:pt idx="7786">2</cx:pt>
          <cx:pt idx="7787">4</cx:pt>
          <cx:pt idx="7788">2</cx:pt>
          <cx:pt idx="7789">6</cx:pt>
          <cx:pt idx="7790">1</cx:pt>
          <cx:pt idx="7791">2</cx:pt>
          <cx:pt idx="7792">4</cx:pt>
          <cx:pt idx="7793">3</cx:pt>
          <cx:pt idx="7794">1</cx:pt>
          <cx:pt idx="7795">3</cx:pt>
          <cx:pt idx="7796">2</cx:pt>
          <cx:pt idx="7797">2</cx:pt>
          <cx:pt idx="7798">3</cx:pt>
          <cx:pt idx="7799">3</cx:pt>
          <cx:pt idx="7800">4</cx:pt>
          <cx:pt idx="7801">3</cx:pt>
          <cx:pt idx="7802">2</cx:pt>
          <cx:pt idx="7803">2</cx:pt>
          <cx:pt idx="7804">2</cx:pt>
          <cx:pt idx="7805">3</cx:pt>
          <cx:pt idx="7806">1</cx:pt>
          <cx:pt idx="7807">1</cx:pt>
          <cx:pt idx="7808">1</cx:pt>
          <cx:pt idx="7809">2</cx:pt>
          <cx:pt idx="7810">1</cx:pt>
          <cx:pt idx="7811">1</cx:pt>
          <cx:pt idx="7812">4</cx:pt>
          <cx:pt idx="7813">5</cx:pt>
          <cx:pt idx="7814">2</cx:pt>
          <cx:pt idx="7815">4</cx:pt>
          <cx:pt idx="7816">2</cx:pt>
          <cx:pt idx="7817">2</cx:pt>
          <cx:pt idx="7818">2</cx:pt>
          <cx:pt idx="7819">1</cx:pt>
          <cx:pt idx="7820">3</cx:pt>
          <cx:pt idx="7821">2</cx:pt>
          <cx:pt idx="7822">4</cx:pt>
          <cx:pt idx="7823">2</cx:pt>
          <cx:pt idx="7824">2</cx:pt>
          <cx:pt idx="7825">2</cx:pt>
          <cx:pt idx="7826">2</cx:pt>
          <cx:pt idx="7827">1</cx:pt>
          <cx:pt idx="7828">3</cx:pt>
          <cx:pt idx="7829">3</cx:pt>
          <cx:pt idx="7830">1</cx:pt>
          <cx:pt idx="7831">2</cx:pt>
          <cx:pt idx="7832">8</cx:pt>
          <cx:pt idx="7833">3</cx:pt>
          <cx:pt idx="7834">1</cx:pt>
          <cx:pt idx="7835">1</cx:pt>
          <cx:pt idx="7836">4</cx:pt>
          <cx:pt idx="7837">2</cx:pt>
          <cx:pt idx="7838">1</cx:pt>
          <cx:pt idx="7839">2</cx:pt>
          <cx:pt idx="7840">1</cx:pt>
          <cx:pt idx="7841">1</cx:pt>
          <cx:pt idx="7842">1</cx:pt>
          <cx:pt idx="7843">3</cx:pt>
          <cx:pt idx="7844">1</cx:pt>
          <cx:pt idx="7845">1</cx:pt>
          <cx:pt idx="7846">2</cx:pt>
          <cx:pt idx="7847">4</cx:pt>
          <cx:pt idx="7848">1</cx:pt>
          <cx:pt idx="7849">2</cx:pt>
          <cx:pt idx="7850">1</cx:pt>
          <cx:pt idx="7851">2</cx:pt>
          <cx:pt idx="7852">2</cx:pt>
          <cx:pt idx="7853">5</cx:pt>
          <cx:pt idx="7854">4</cx:pt>
          <cx:pt idx="7855">1</cx:pt>
          <cx:pt idx="7856">5</cx:pt>
          <cx:pt idx="7857">1</cx:pt>
          <cx:pt idx="7858">3</cx:pt>
          <cx:pt idx="7859">3</cx:pt>
          <cx:pt idx="7860">1</cx:pt>
          <cx:pt idx="7861">1</cx:pt>
          <cx:pt idx="7862">4</cx:pt>
          <cx:pt idx="7863">1</cx:pt>
          <cx:pt idx="7864">3</cx:pt>
          <cx:pt idx="7865">4</cx:pt>
          <cx:pt idx="7866">1</cx:pt>
          <cx:pt idx="7867">1</cx:pt>
          <cx:pt idx="7868">2</cx:pt>
          <cx:pt idx="7869">5</cx:pt>
          <cx:pt idx="7870">1</cx:pt>
          <cx:pt idx="7871">2</cx:pt>
          <cx:pt idx="7872">6</cx:pt>
          <cx:pt idx="7873">2</cx:pt>
          <cx:pt idx="7874">2</cx:pt>
          <cx:pt idx="7875">4</cx:pt>
          <cx:pt idx="7876">2</cx:pt>
          <cx:pt idx="7877">4</cx:pt>
          <cx:pt idx="7878">2</cx:pt>
          <cx:pt idx="7879">2</cx:pt>
          <cx:pt idx="7880">1</cx:pt>
          <cx:pt idx="7881">1</cx:pt>
          <cx:pt idx="7882">3</cx:pt>
          <cx:pt idx="7883">1</cx:pt>
          <cx:pt idx="7884">1</cx:pt>
          <cx:pt idx="7885">3</cx:pt>
          <cx:pt idx="7886">1</cx:pt>
          <cx:pt idx="7887">1</cx:pt>
          <cx:pt idx="7888">2</cx:pt>
          <cx:pt idx="7889">4</cx:pt>
          <cx:pt idx="7890">2</cx:pt>
          <cx:pt idx="7891">2</cx:pt>
          <cx:pt idx="7892">3</cx:pt>
          <cx:pt idx="7893">1</cx:pt>
          <cx:pt idx="7894">1</cx:pt>
          <cx:pt idx="7895">3</cx:pt>
          <cx:pt idx="7896">4</cx:pt>
          <cx:pt idx="7897">1</cx:pt>
          <cx:pt idx="7898">2</cx:pt>
          <cx:pt idx="7899">1</cx:pt>
          <cx:pt idx="7900">1</cx:pt>
          <cx:pt idx="7901">2</cx:pt>
          <cx:pt idx="7902">1</cx:pt>
          <cx:pt idx="7903">4</cx:pt>
          <cx:pt idx="7904">2</cx:pt>
          <cx:pt idx="7905">1</cx:pt>
          <cx:pt idx="7906">1</cx:pt>
          <cx:pt idx="7907">3</cx:pt>
          <cx:pt idx="7908">2</cx:pt>
          <cx:pt idx="7909">2</cx:pt>
          <cx:pt idx="7910">1</cx:pt>
          <cx:pt idx="7911">6</cx:pt>
          <cx:pt idx="7912">1</cx:pt>
          <cx:pt idx="7913">3</cx:pt>
          <cx:pt idx="7914">3</cx:pt>
          <cx:pt idx="7915">1</cx:pt>
          <cx:pt idx="7916">1</cx:pt>
          <cx:pt idx="7917">2</cx:pt>
          <cx:pt idx="7918">2</cx:pt>
          <cx:pt idx="7919">2</cx:pt>
          <cx:pt idx="7920">2</cx:pt>
          <cx:pt idx="7921">1</cx:pt>
          <cx:pt idx="7922">1</cx:pt>
          <cx:pt idx="7923">3</cx:pt>
          <cx:pt idx="7924">3</cx:pt>
          <cx:pt idx="7925">2</cx:pt>
          <cx:pt idx="7926">2</cx:pt>
          <cx:pt idx="7927">4</cx:pt>
          <cx:pt idx="7928">2</cx:pt>
          <cx:pt idx="7929">1</cx:pt>
          <cx:pt idx="7930">3</cx:pt>
          <cx:pt idx="7931">2</cx:pt>
          <cx:pt idx="7932">3</cx:pt>
          <cx:pt idx="7933">1</cx:pt>
          <cx:pt idx="7934">1</cx:pt>
          <cx:pt idx="7935">2</cx:pt>
          <cx:pt idx="7936">3</cx:pt>
          <cx:pt idx="7937">1</cx:pt>
          <cx:pt idx="7938">1</cx:pt>
          <cx:pt idx="7939">3</cx:pt>
          <cx:pt idx="7940">2</cx:pt>
          <cx:pt idx="7941">2</cx:pt>
          <cx:pt idx="7942">1</cx:pt>
          <cx:pt idx="7943">3</cx:pt>
          <cx:pt idx="7944">1</cx:pt>
          <cx:pt idx="7945">1</cx:pt>
          <cx:pt idx="7946">2</cx:pt>
          <cx:pt idx="7947">2</cx:pt>
          <cx:pt idx="7948">1</cx:pt>
          <cx:pt idx="7949">1</cx:pt>
          <cx:pt idx="7950">2</cx:pt>
          <cx:pt idx="7951">2</cx:pt>
          <cx:pt idx="7952">1</cx:pt>
          <cx:pt idx="7953">3</cx:pt>
          <cx:pt idx="7954">2</cx:pt>
          <cx:pt idx="7955">3</cx:pt>
          <cx:pt idx="7956">1</cx:pt>
          <cx:pt idx="7957">1</cx:pt>
          <cx:pt idx="7958">4</cx:pt>
          <cx:pt idx="7959">2</cx:pt>
          <cx:pt idx="7960">3</cx:pt>
          <cx:pt idx="7961">2</cx:pt>
          <cx:pt idx="7962">3</cx:pt>
          <cx:pt idx="7963">4</cx:pt>
          <cx:pt idx="7964">2</cx:pt>
          <cx:pt idx="7965">2</cx:pt>
          <cx:pt idx="7966">2</cx:pt>
          <cx:pt idx="7967">2</cx:pt>
          <cx:pt idx="7968">2</cx:pt>
          <cx:pt idx="7969">2</cx:pt>
          <cx:pt idx="7970">3</cx:pt>
          <cx:pt idx="7971">3</cx:pt>
          <cx:pt idx="7972">4</cx:pt>
          <cx:pt idx="7973">4</cx:pt>
          <cx:pt idx="7974">1</cx:pt>
          <cx:pt idx="7975">1</cx:pt>
          <cx:pt idx="7976">5</cx:pt>
          <cx:pt idx="7977">1</cx:pt>
          <cx:pt idx="7978">1</cx:pt>
          <cx:pt idx="7979">1</cx:pt>
          <cx:pt idx="7980">2</cx:pt>
          <cx:pt idx="7981">3</cx:pt>
          <cx:pt idx="7982">2</cx:pt>
          <cx:pt idx="7983">1</cx:pt>
          <cx:pt idx="7984">1</cx:pt>
          <cx:pt idx="7985">2</cx:pt>
          <cx:pt idx="7986">1</cx:pt>
          <cx:pt idx="7987">1</cx:pt>
          <cx:pt idx="7988">1</cx:pt>
          <cx:pt idx="7989">3</cx:pt>
          <cx:pt idx="7990">2</cx:pt>
          <cx:pt idx="7991">2</cx:pt>
          <cx:pt idx="7992">1</cx:pt>
          <cx:pt idx="7993">1</cx:pt>
          <cx:pt idx="7994">3</cx:pt>
          <cx:pt idx="7995">2</cx:pt>
          <cx:pt idx="7996">2</cx:pt>
          <cx:pt idx="7997">1</cx:pt>
          <cx:pt idx="7998">1</cx:pt>
          <cx:pt idx="7999">1</cx:pt>
          <cx:pt idx="8000">2</cx:pt>
          <cx:pt idx="8001">2</cx:pt>
          <cx:pt idx="8002">1</cx:pt>
          <cx:pt idx="8003">1</cx:pt>
          <cx:pt idx="8004">2</cx:pt>
          <cx:pt idx="8005">4</cx:pt>
          <cx:pt idx="8006">1</cx:pt>
          <cx:pt idx="8007">2</cx:pt>
          <cx:pt idx="8008">2</cx:pt>
          <cx:pt idx="8009">3</cx:pt>
          <cx:pt idx="8010">4</cx:pt>
          <cx:pt idx="8011">4</cx:pt>
          <cx:pt idx="8012">1</cx:pt>
          <cx:pt idx="8013">2</cx:pt>
          <cx:pt idx="8014">2</cx:pt>
          <cx:pt idx="8015">2</cx:pt>
          <cx:pt idx="8016">4</cx:pt>
          <cx:pt idx="8017">1</cx:pt>
          <cx:pt idx="8018">1</cx:pt>
          <cx:pt idx="8019">2</cx:pt>
          <cx:pt idx="8020">3</cx:pt>
          <cx:pt idx="8021">3</cx:pt>
          <cx:pt idx="8022">2</cx:pt>
          <cx:pt idx="8023">2</cx:pt>
          <cx:pt idx="8024">5</cx:pt>
          <cx:pt idx="8025">2</cx:pt>
          <cx:pt idx="8026">2</cx:pt>
          <cx:pt idx="8027">2</cx:pt>
          <cx:pt idx="8028">2</cx:pt>
          <cx:pt idx="8029">3</cx:pt>
          <cx:pt idx="8030">3</cx:pt>
          <cx:pt idx="8031">1</cx:pt>
          <cx:pt idx="8032">1</cx:pt>
          <cx:pt idx="8033">3</cx:pt>
          <cx:pt idx="8034">3</cx:pt>
          <cx:pt idx="8035">3</cx:pt>
          <cx:pt idx="8036">2</cx:pt>
          <cx:pt idx="8037">4</cx:pt>
          <cx:pt idx="8038">3</cx:pt>
          <cx:pt idx="8039">3</cx:pt>
          <cx:pt idx="8040">2</cx:pt>
          <cx:pt idx="8041">6</cx:pt>
          <cx:pt idx="8042">1</cx:pt>
          <cx:pt idx="8043">1</cx:pt>
          <cx:pt idx="8044">2</cx:pt>
          <cx:pt idx="8045">1</cx:pt>
          <cx:pt idx="8046">1</cx:pt>
          <cx:pt idx="8047">1</cx:pt>
          <cx:pt idx="8048">1</cx:pt>
          <cx:pt idx="8049">3</cx:pt>
          <cx:pt idx="8050">1</cx:pt>
          <cx:pt idx="8051">1</cx:pt>
          <cx:pt idx="8052">3</cx:pt>
          <cx:pt idx="8053">2</cx:pt>
          <cx:pt idx="8054">1</cx:pt>
          <cx:pt idx="8055">5</cx:pt>
          <cx:pt idx="8056">4</cx:pt>
          <cx:pt idx="8057">1</cx:pt>
          <cx:pt idx="8058">2</cx:pt>
          <cx:pt idx="8059">2</cx:pt>
          <cx:pt idx="8060">3</cx:pt>
          <cx:pt idx="8061">2</cx:pt>
          <cx:pt idx="8062">1</cx:pt>
          <cx:pt idx="8063">2</cx:pt>
          <cx:pt idx="8064">3</cx:pt>
          <cx:pt idx="8065">2</cx:pt>
          <cx:pt idx="8066">2</cx:pt>
          <cx:pt idx="8067">4</cx:pt>
          <cx:pt idx="8068">1</cx:pt>
          <cx:pt idx="8069">3</cx:pt>
          <cx:pt idx="8070">4</cx:pt>
          <cx:pt idx="8071">1</cx:pt>
          <cx:pt idx="8072">2</cx:pt>
          <cx:pt idx="8073">2</cx:pt>
          <cx:pt idx="8074">2</cx:pt>
          <cx:pt idx="8075">1</cx:pt>
          <cx:pt idx="8076">1</cx:pt>
          <cx:pt idx="8077">1</cx:pt>
          <cx:pt idx="8078">2</cx:pt>
          <cx:pt idx="8079">1</cx:pt>
          <cx:pt idx="8080">2</cx:pt>
          <cx:pt idx="8081">1</cx:pt>
          <cx:pt idx="8082">1</cx:pt>
          <cx:pt idx="8083">1</cx:pt>
          <cx:pt idx="8084">3</cx:pt>
          <cx:pt idx="8085">3</cx:pt>
          <cx:pt idx="8086">2</cx:pt>
          <cx:pt idx="8087">1</cx:pt>
          <cx:pt idx="8088">1</cx:pt>
          <cx:pt idx="8089">5</cx:pt>
          <cx:pt idx="8090">1</cx:pt>
          <cx:pt idx="8091">2</cx:pt>
          <cx:pt idx="8092">2</cx:pt>
          <cx:pt idx="8093">1</cx:pt>
          <cx:pt idx="8094">1</cx:pt>
          <cx:pt idx="8095">2</cx:pt>
          <cx:pt idx="8096">1</cx:pt>
          <cx:pt idx="8097">1</cx:pt>
          <cx:pt idx="8098">4</cx:pt>
          <cx:pt idx="8099">4</cx:pt>
          <cx:pt idx="8100">2</cx:pt>
          <cx:pt idx="8101">1</cx:pt>
          <cx:pt idx="8102">1</cx:pt>
          <cx:pt idx="8103">2</cx:pt>
          <cx:pt idx="8104">2</cx:pt>
          <cx:pt idx="8105">4</cx:pt>
          <cx:pt idx="8106">1</cx:pt>
          <cx:pt idx="8107">1</cx:pt>
          <cx:pt idx="8108">1</cx:pt>
          <cx:pt idx="8109">1</cx:pt>
          <cx:pt idx="8110">1</cx:pt>
          <cx:pt idx="8111">3</cx:pt>
          <cx:pt idx="8112">1</cx:pt>
          <cx:pt idx="8113">3</cx:pt>
          <cx:pt idx="8114">4</cx:pt>
          <cx:pt idx="8115">3</cx:pt>
          <cx:pt idx="8116">4</cx:pt>
          <cx:pt idx="8117">3</cx:pt>
          <cx:pt idx="8118">4</cx:pt>
          <cx:pt idx="8119">2</cx:pt>
          <cx:pt idx="8120">3</cx:pt>
          <cx:pt idx="8121">2</cx:pt>
          <cx:pt idx="8122">3</cx:pt>
          <cx:pt idx="8123">1</cx:pt>
          <cx:pt idx="8124">3</cx:pt>
          <cx:pt idx="8125">3</cx:pt>
          <cx:pt idx="8126">3</cx:pt>
          <cx:pt idx="8127">1</cx:pt>
          <cx:pt idx="8128">3</cx:pt>
          <cx:pt idx="8129">1</cx:pt>
          <cx:pt idx="8130">3</cx:pt>
          <cx:pt idx="8131">3</cx:pt>
          <cx:pt idx="8132">2</cx:pt>
          <cx:pt idx="8133">2</cx:pt>
          <cx:pt idx="8134">4</cx:pt>
          <cx:pt idx="8135">4</cx:pt>
          <cx:pt idx="8136">1</cx:pt>
          <cx:pt idx="8137">2</cx:pt>
          <cx:pt idx="8138">2</cx:pt>
          <cx:pt idx="8139">2</cx:pt>
          <cx:pt idx="8140">2</cx:pt>
          <cx:pt idx="8141">1</cx:pt>
          <cx:pt idx="8142">2</cx:pt>
          <cx:pt idx="8143">2</cx:pt>
          <cx:pt idx="8144">3</cx:pt>
          <cx:pt idx="8145">3</cx:pt>
          <cx:pt idx="8146">1</cx:pt>
          <cx:pt idx="8147">1</cx:pt>
          <cx:pt idx="8148">1</cx:pt>
          <cx:pt idx="8149">1</cx:pt>
          <cx:pt idx="8150">2</cx:pt>
          <cx:pt idx="8151">1</cx:pt>
          <cx:pt idx="8152">1</cx:pt>
          <cx:pt idx="8153">2</cx:pt>
          <cx:pt idx="8154">1</cx:pt>
          <cx:pt idx="8155">2</cx:pt>
          <cx:pt idx="8156">2</cx:pt>
          <cx:pt idx="8157">4</cx:pt>
          <cx:pt idx="8158">1</cx:pt>
          <cx:pt idx="8159">1</cx:pt>
          <cx:pt idx="8160">4</cx:pt>
          <cx:pt idx="8161">2</cx:pt>
          <cx:pt idx="8162">1</cx:pt>
          <cx:pt idx="8163">2</cx:pt>
          <cx:pt idx="8164">1</cx:pt>
          <cx:pt idx="8165">4</cx:pt>
          <cx:pt idx="8166">1</cx:pt>
          <cx:pt idx="8167">3</cx:pt>
          <cx:pt idx="8168">1</cx:pt>
          <cx:pt idx="8169">2</cx:pt>
          <cx:pt idx="8170">4</cx:pt>
          <cx:pt idx="8171">1</cx:pt>
          <cx:pt idx="8172">3</cx:pt>
          <cx:pt idx="8173">3</cx:pt>
          <cx:pt idx="8174">1</cx:pt>
          <cx:pt idx="8175">4</cx:pt>
          <cx:pt idx="8176">3</cx:pt>
          <cx:pt idx="8177">1</cx:pt>
          <cx:pt idx="8178">4</cx:pt>
          <cx:pt idx="8179">2</cx:pt>
          <cx:pt idx="8180">1</cx:pt>
          <cx:pt idx="8181">4</cx:pt>
          <cx:pt idx="8182">4</cx:pt>
          <cx:pt idx="8183">1</cx:pt>
          <cx:pt idx="8184">2</cx:pt>
          <cx:pt idx="8185">3</cx:pt>
          <cx:pt idx="8186">1</cx:pt>
          <cx:pt idx="8187">4</cx:pt>
          <cx:pt idx="8188">1</cx:pt>
          <cx:pt idx="8189">3</cx:pt>
          <cx:pt idx="8190">2</cx:pt>
          <cx:pt idx="8191">1</cx:pt>
          <cx:pt idx="8192">1</cx:pt>
          <cx:pt idx="8193">1</cx:pt>
          <cx:pt idx="8194">1</cx:pt>
          <cx:pt idx="8195">2</cx:pt>
          <cx:pt idx="8196">3</cx:pt>
          <cx:pt idx="8197">2</cx:pt>
          <cx:pt idx="8198">4</cx:pt>
          <cx:pt idx="8199">1</cx:pt>
          <cx:pt idx="8200">2</cx:pt>
          <cx:pt idx="8201">4</cx:pt>
          <cx:pt idx="8202">2</cx:pt>
          <cx:pt idx="8203">1</cx:pt>
          <cx:pt idx="8204">3</cx:pt>
          <cx:pt idx="8205">1</cx:pt>
          <cx:pt idx="8206">2</cx:pt>
          <cx:pt idx="8207">3</cx:pt>
          <cx:pt idx="8208">3</cx:pt>
          <cx:pt idx="8209">5</cx:pt>
          <cx:pt idx="8210">3</cx:pt>
          <cx:pt idx="8211">1</cx:pt>
          <cx:pt idx="8212">1</cx:pt>
          <cx:pt idx="8213">2</cx:pt>
          <cx:pt idx="8214">4</cx:pt>
          <cx:pt idx="8215">2</cx:pt>
          <cx:pt idx="8216">1</cx:pt>
          <cx:pt idx="8217">1</cx:pt>
          <cx:pt idx="8218">1</cx:pt>
          <cx:pt idx="8219">3</cx:pt>
          <cx:pt idx="8220">1</cx:pt>
          <cx:pt idx="8221">4</cx:pt>
          <cx:pt idx="8222">3</cx:pt>
          <cx:pt idx="8223">2</cx:pt>
          <cx:pt idx="8224">1</cx:pt>
          <cx:pt idx="8225">3</cx:pt>
          <cx:pt idx="8226">4</cx:pt>
          <cx:pt idx="8227">2</cx:pt>
          <cx:pt idx="8228">1</cx:pt>
          <cx:pt idx="8229">5</cx:pt>
          <cx:pt idx="8230">1</cx:pt>
          <cx:pt idx="8231">2</cx:pt>
          <cx:pt idx="8232">1</cx:pt>
          <cx:pt idx="8233">1</cx:pt>
          <cx:pt idx="8234">2</cx:pt>
          <cx:pt idx="8235">1</cx:pt>
          <cx:pt idx="8236">5</cx:pt>
          <cx:pt idx="8237">2</cx:pt>
          <cx:pt idx="8238">4</cx:pt>
          <cx:pt idx="8239">2</cx:pt>
          <cx:pt idx="8240">2</cx:pt>
          <cx:pt idx="8241">2</cx:pt>
          <cx:pt idx="8242">4</cx:pt>
          <cx:pt idx="8243">1</cx:pt>
          <cx:pt idx="8244">6</cx:pt>
          <cx:pt idx="8245">4</cx:pt>
          <cx:pt idx="8246">3</cx:pt>
          <cx:pt idx="8247">2</cx:pt>
          <cx:pt idx="8248">4</cx:pt>
          <cx:pt idx="8249">2</cx:pt>
          <cx:pt idx="8250">3</cx:pt>
          <cx:pt idx="8251">3</cx:pt>
          <cx:pt idx="8252">4</cx:pt>
          <cx:pt idx="8253">3</cx:pt>
          <cx:pt idx="8254">1</cx:pt>
          <cx:pt idx="8255">6</cx:pt>
          <cx:pt idx="8256">2</cx:pt>
          <cx:pt idx="8257">4</cx:pt>
          <cx:pt idx="8258">1</cx:pt>
          <cx:pt idx="8259">4</cx:pt>
          <cx:pt idx="8260">2</cx:pt>
          <cx:pt idx="8261">1</cx:pt>
          <cx:pt idx="8262">1</cx:pt>
          <cx:pt idx="8263">1</cx:pt>
          <cx:pt idx="8264">1</cx:pt>
          <cx:pt idx="8265">2</cx:pt>
          <cx:pt idx="8266">2</cx:pt>
          <cx:pt idx="8267">1</cx:pt>
          <cx:pt idx="8268">2</cx:pt>
          <cx:pt idx="8269">6</cx:pt>
          <cx:pt idx="8270">3</cx:pt>
          <cx:pt idx="8271">2</cx:pt>
          <cx:pt idx="8272">1</cx:pt>
          <cx:pt idx="8273">2</cx:pt>
          <cx:pt idx="8274">4</cx:pt>
          <cx:pt idx="8275">2</cx:pt>
          <cx:pt idx="8276">1</cx:pt>
          <cx:pt idx="8277">1</cx:pt>
          <cx:pt idx="8278">1</cx:pt>
          <cx:pt idx="8279">1</cx:pt>
          <cx:pt idx="8280">3</cx:pt>
          <cx:pt idx="8281">1</cx:pt>
          <cx:pt idx="8282">1</cx:pt>
          <cx:pt idx="8283">2</cx:pt>
          <cx:pt idx="8284">2</cx:pt>
          <cx:pt idx="8285">2</cx:pt>
          <cx:pt idx="8286">2</cx:pt>
          <cx:pt idx="8287">2</cx:pt>
          <cx:pt idx="8288">1</cx:pt>
          <cx:pt idx="8289">1</cx:pt>
          <cx:pt idx="8290">1</cx:pt>
          <cx:pt idx="8291">1</cx:pt>
          <cx:pt idx="8292">2</cx:pt>
          <cx:pt idx="8293">5</cx:pt>
          <cx:pt idx="8294">2</cx:pt>
          <cx:pt idx="8295">2</cx:pt>
          <cx:pt idx="8296">2</cx:pt>
          <cx:pt idx="8297">2</cx:pt>
          <cx:pt idx="8298">1</cx:pt>
          <cx:pt idx="8299">1</cx:pt>
          <cx:pt idx="8300">1</cx:pt>
          <cx:pt idx="8301">2</cx:pt>
          <cx:pt idx="8302">3</cx:pt>
          <cx:pt idx="8303">2</cx:pt>
          <cx:pt idx="8304">2</cx:pt>
          <cx:pt idx="8305">2</cx:pt>
          <cx:pt idx="8306">1</cx:pt>
          <cx:pt idx="8307">1</cx:pt>
          <cx:pt idx="8308">4</cx:pt>
          <cx:pt idx="8309">3</cx:pt>
          <cx:pt idx="8310">2</cx:pt>
          <cx:pt idx="8311">1</cx:pt>
          <cx:pt idx="8312">2</cx:pt>
          <cx:pt idx="8313">1</cx:pt>
          <cx:pt idx="8314">2</cx:pt>
          <cx:pt idx="8315">2</cx:pt>
          <cx:pt idx="8316">3</cx:pt>
          <cx:pt idx="8317">2</cx:pt>
          <cx:pt idx="8318">2</cx:pt>
          <cx:pt idx="8319">1</cx:pt>
          <cx:pt idx="8320">2</cx:pt>
          <cx:pt idx="8321">1</cx:pt>
          <cx:pt idx="8322">3</cx:pt>
          <cx:pt idx="8323">2</cx:pt>
          <cx:pt idx="8324">1</cx:pt>
          <cx:pt idx="8325">1</cx:pt>
          <cx:pt idx="8326">3</cx:pt>
          <cx:pt idx="8327">2</cx:pt>
          <cx:pt idx="8328">2</cx:pt>
          <cx:pt idx="8329">1</cx:pt>
          <cx:pt idx="8330">2</cx:pt>
          <cx:pt idx="8331">1</cx:pt>
          <cx:pt idx="8332">3</cx:pt>
          <cx:pt idx="8333">2</cx:pt>
          <cx:pt idx="8334">1</cx:pt>
          <cx:pt idx="8335">6</cx:pt>
          <cx:pt idx="8336">2</cx:pt>
          <cx:pt idx="8337">1</cx:pt>
          <cx:pt idx="8338">2</cx:pt>
          <cx:pt idx="8339">2</cx:pt>
          <cx:pt idx="8340">2</cx:pt>
          <cx:pt idx="8341">3</cx:pt>
          <cx:pt idx="8342">1</cx:pt>
          <cx:pt idx="8343">2</cx:pt>
          <cx:pt idx="8344">2</cx:pt>
          <cx:pt idx="8345">1</cx:pt>
          <cx:pt idx="8346">2</cx:pt>
          <cx:pt idx="8347">3</cx:pt>
          <cx:pt idx="8348">3</cx:pt>
          <cx:pt idx="8349">3</cx:pt>
          <cx:pt idx="8350">2</cx:pt>
          <cx:pt idx="8351">4</cx:pt>
          <cx:pt idx="8352">2</cx:pt>
          <cx:pt idx="8353">4</cx:pt>
          <cx:pt idx="8354">1</cx:pt>
          <cx:pt idx="8355">1</cx:pt>
          <cx:pt idx="8356">3</cx:pt>
          <cx:pt idx="8357">4</cx:pt>
          <cx:pt idx="8358">2</cx:pt>
          <cx:pt idx="8359">1</cx:pt>
          <cx:pt idx="8360">3</cx:pt>
          <cx:pt idx="8361">2</cx:pt>
          <cx:pt idx="8362">1</cx:pt>
          <cx:pt idx="8363">1</cx:pt>
          <cx:pt idx="8364">3</cx:pt>
          <cx:pt idx="8365">2</cx:pt>
          <cx:pt idx="8366">2</cx:pt>
          <cx:pt idx="8367">1</cx:pt>
          <cx:pt idx="8368">4</cx:pt>
          <cx:pt idx="8369">1</cx:pt>
          <cx:pt idx="8370">3</cx:pt>
          <cx:pt idx="8371">2</cx:pt>
          <cx:pt idx="8372">1</cx:pt>
          <cx:pt idx="8373">1</cx:pt>
          <cx:pt idx="8374">1</cx:pt>
          <cx:pt idx="8375">2</cx:pt>
          <cx:pt idx="8376">1</cx:pt>
          <cx:pt idx="8377">2</cx:pt>
          <cx:pt idx="8378">3</cx:pt>
          <cx:pt idx="8379">2</cx:pt>
          <cx:pt idx="8380">1</cx:pt>
          <cx:pt idx="8381">1</cx:pt>
          <cx:pt idx="8382">1</cx:pt>
          <cx:pt idx="8383">2</cx:pt>
          <cx:pt idx="8384">3</cx:pt>
          <cx:pt idx="8385">1</cx:pt>
          <cx:pt idx="8386">2</cx:pt>
          <cx:pt idx="8387">4</cx:pt>
          <cx:pt idx="8388">2</cx:pt>
          <cx:pt idx="8389">5</cx:pt>
          <cx:pt idx="8390">1</cx:pt>
          <cx:pt idx="8391">2</cx:pt>
          <cx:pt idx="8392">2</cx:pt>
          <cx:pt idx="8393">1</cx:pt>
          <cx:pt idx="8394">2</cx:pt>
          <cx:pt idx="8395">3</cx:pt>
          <cx:pt idx="8396">4</cx:pt>
          <cx:pt idx="8397">2</cx:pt>
          <cx:pt idx="8398">2</cx:pt>
          <cx:pt idx="8399">5</cx:pt>
          <cx:pt idx="8400">1</cx:pt>
          <cx:pt idx="8401">1</cx:pt>
          <cx:pt idx="8402">5</cx:pt>
          <cx:pt idx="8403">1</cx:pt>
          <cx:pt idx="8404">1</cx:pt>
          <cx:pt idx="8405">2</cx:pt>
          <cx:pt idx="8406">1</cx:pt>
          <cx:pt idx="8407">2</cx:pt>
          <cx:pt idx="8408">4</cx:pt>
          <cx:pt idx="8409">1</cx:pt>
          <cx:pt idx="8410">5</cx:pt>
          <cx:pt idx="8411">1</cx:pt>
          <cx:pt idx="8412">2</cx:pt>
          <cx:pt idx="8413">2</cx:pt>
          <cx:pt idx="8414">1</cx:pt>
          <cx:pt idx="8415">1</cx:pt>
          <cx:pt idx="8416">1</cx:pt>
          <cx:pt idx="8417">1</cx:pt>
          <cx:pt idx="8418">1</cx:pt>
          <cx:pt idx="8419">4</cx:pt>
          <cx:pt idx="8420">1</cx:pt>
          <cx:pt idx="8421">1</cx:pt>
          <cx:pt idx="8422">2</cx:pt>
          <cx:pt idx="8423">3</cx:pt>
          <cx:pt idx="8424">3</cx:pt>
          <cx:pt idx="8425">2</cx:pt>
          <cx:pt idx="8426">3</cx:pt>
          <cx:pt idx="8427">1</cx:pt>
          <cx:pt idx="8428">4</cx:pt>
          <cx:pt idx="8429">2</cx:pt>
          <cx:pt idx="8430">2</cx:pt>
          <cx:pt idx="8431">5</cx:pt>
          <cx:pt idx="8432">2</cx:pt>
          <cx:pt idx="8433">1</cx:pt>
          <cx:pt idx="8434">1</cx:pt>
          <cx:pt idx="8435">1</cx:pt>
          <cx:pt idx="8436">5</cx:pt>
          <cx:pt idx="8437">2</cx:pt>
          <cx:pt idx="8438">4</cx:pt>
          <cx:pt idx="8439">2</cx:pt>
          <cx:pt idx="8440">3</cx:pt>
          <cx:pt idx="8441">2</cx:pt>
          <cx:pt idx="8442">2</cx:pt>
          <cx:pt idx="8443">1</cx:pt>
          <cx:pt idx="8444">3</cx:pt>
          <cx:pt idx="8445">2</cx:pt>
          <cx:pt idx="8446">4</cx:pt>
          <cx:pt idx="8447">3</cx:pt>
          <cx:pt idx="8448">6</cx:pt>
          <cx:pt idx="8449">7</cx:pt>
          <cx:pt idx="8450">1</cx:pt>
          <cx:pt idx="8451">1</cx:pt>
          <cx:pt idx="8452">1</cx:pt>
          <cx:pt idx="8453">2</cx:pt>
          <cx:pt idx="8454">2</cx:pt>
          <cx:pt idx="8455">2</cx:pt>
          <cx:pt idx="8456">2</cx:pt>
          <cx:pt idx="8457">1</cx:pt>
          <cx:pt idx="8458">1</cx:pt>
          <cx:pt idx="8459">1</cx:pt>
          <cx:pt idx="8460">2</cx:pt>
          <cx:pt idx="8461">4</cx:pt>
          <cx:pt idx="8462">1</cx:pt>
          <cx:pt idx="8463">1</cx:pt>
          <cx:pt idx="8464">1</cx:pt>
          <cx:pt idx="8465">2</cx:pt>
          <cx:pt idx="8466">3</cx:pt>
          <cx:pt idx="8467">1</cx:pt>
          <cx:pt idx="8468">3</cx:pt>
          <cx:pt idx="8469">3</cx:pt>
          <cx:pt idx="8470">1</cx:pt>
          <cx:pt idx="8471">2</cx:pt>
          <cx:pt idx="8472">2</cx:pt>
          <cx:pt idx="8473">1</cx:pt>
          <cx:pt idx="8474">2</cx:pt>
          <cx:pt idx="8475">1</cx:pt>
          <cx:pt idx="8476">3</cx:pt>
          <cx:pt idx="8477">2</cx:pt>
          <cx:pt idx="8478">2</cx:pt>
          <cx:pt idx="8479">1</cx:pt>
          <cx:pt idx="8480">2</cx:pt>
          <cx:pt idx="8481">2</cx:pt>
          <cx:pt idx="8482">2</cx:pt>
          <cx:pt idx="8483">1</cx:pt>
          <cx:pt idx="8484">3</cx:pt>
          <cx:pt idx="8485">3</cx:pt>
          <cx:pt idx="8486">3</cx:pt>
          <cx:pt idx="8487">1</cx:pt>
          <cx:pt idx="8488">3</cx:pt>
          <cx:pt idx="8489">4</cx:pt>
          <cx:pt idx="8490">4</cx:pt>
          <cx:pt idx="8491">1</cx:pt>
          <cx:pt idx="8492">2</cx:pt>
          <cx:pt idx="8493">1</cx:pt>
          <cx:pt idx="8494">3</cx:pt>
          <cx:pt idx="8495">2</cx:pt>
          <cx:pt idx="8496">1</cx:pt>
          <cx:pt idx="8497">2</cx:pt>
          <cx:pt idx="8498">1</cx:pt>
          <cx:pt idx="8499">2</cx:pt>
          <cx:pt idx="8500">3</cx:pt>
          <cx:pt idx="8501">2</cx:pt>
          <cx:pt idx="8502">3</cx:pt>
          <cx:pt idx="8503">1</cx:pt>
          <cx:pt idx="8504">1</cx:pt>
          <cx:pt idx="8505">2</cx:pt>
          <cx:pt idx="8506">6</cx:pt>
          <cx:pt idx="8507">1</cx:pt>
          <cx:pt idx="8508">2</cx:pt>
          <cx:pt idx="8509">4</cx:pt>
          <cx:pt idx="8510">4</cx:pt>
          <cx:pt idx="8511">2</cx:pt>
          <cx:pt idx="8512">2</cx:pt>
          <cx:pt idx="8513">2</cx:pt>
          <cx:pt idx="8514">2</cx:pt>
          <cx:pt idx="8515">2</cx:pt>
          <cx:pt idx="8516">3</cx:pt>
          <cx:pt idx="8517">3</cx:pt>
          <cx:pt idx="8518">3</cx:pt>
          <cx:pt idx="8519">3</cx:pt>
          <cx:pt idx="8520">3</cx:pt>
          <cx:pt idx="8521">4</cx:pt>
          <cx:pt idx="8522">2</cx:pt>
          <cx:pt idx="8523">3</cx:pt>
          <cx:pt idx="8524">2</cx:pt>
          <cx:pt idx="8525">1</cx:pt>
          <cx:pt idx="8526">1</cx:pt>
          <cx:pt idx="8527">2</cx:pt>
          <cx:pt idx="8528">2</cx:pt>
          <cx:pt idx="8529">4</cx:pt>
          <cx:pt idx="8530">1</cx:pt>
          <cx:pt idx="8531">3</cx:pt>
          <cx:pt idx="8532">1</cx:pt>
          <cx:pt idx="8533">2</cx:pt>
          <cx:pt idx="8534">2</cx:pt>
          <cx:pt idx="8535">1</cx:pt>
          <cx:pt idx="8536">2</cx:pt>
          <cx:pt idx="8537">2</cx:pt>
          <cx:pt idx="8538">2</cx:pt>
          <cx:pt idx="8539">2</cx:pt>
          <cx:pt idx="8540">2</cx:pt>
          <cx:pt idx="8541">4</cx:pt>
          <cx:pt idx="8542">3</cx:pt>
          <cx:pt idx="8543">6</cx:pt>
          <cx:pt idx="8544">1</cx:pt>
          <cx:pt idx="8545">2</cx:pt>
          <cx:pt idx="8546">2</cx:pt>
          <cx:pt idx="8547">1</cx:pt>
          <cx:pt idx="8548">3</cx:pt>
          <cx:pt idx="8549">1</cx:pt>
          <cx:pt idx="8550">1</cx:pt>
          <cx:pt idx="8551">1</cx:pt>
          <cx:pt idx="8552">2</cx:pt>
          <cx:pt idx="8553">4</cx:pt>
          <cx:pt idx="8554">3</cx:pt>
          <cx:pt idx="8555">1</cx:pt>
          <cx:pt idx="8556">3</cx:pt>
          <cx:pt idx="8557">5</cx:pt>
          <cx:pt idx="8558">3</cx:pt>
          <cx:pt idx="8559">3</cx:pt>
          <cx:pt idx="8560">3</cx:pt>
          <cx:pt idx="8561">2</cx:pt>
          <cx:pt idx="8562">3</cx:pt>
          <cx:pt idx="8563">1</cx:pt>
          <cx:pt idx="8564">6</cx:pt>
          <cx:pt idx="8565">3</cx:pt>
          <cx:pt idx="8566">1</cx:pt>
          <cx:pt idx="8567">3</cx:pt>
          <cx:pt idx="8568">3</cx:pt>
          <cx:pt idx="8569">2</cx:pt>
          <cx:pt idx="8570">1</cx:pt>
          <cx:pt idx="8571">1</cx:pt>
          <cx:pt idx="8572">2</cx:pt>
          <cx:pt idx="8573">1</cx:pt>
          <cx:pt idx="8574">1</cx:pt>
          <cx:pt idx="8575">4</cx:pt>
          <cx:pt idx="8576">3</cx:pt>
          <cx:pt idx="8577">1</cx:pt>
          <cx:pt idx="8578">2</cx:pt>
          <cx:pt idx="8579">1</cx:pt>
          <cx:pt idx="8580">2</cx:pt>
          <cx:pt idx="8581">1</cx:pt>
          <cx:pt idx="8582">1</cx:pt>
          <cx:pt idx="8583">1</cx:pt>
          <cx:pt idx="8584">2</cx:pt>
          <cx:pt idx="8585">4</cx:pt>
          <cx:pt idx="8586">3</cx:pt>
          <cx:pt idx="8587">1</cx:pt>
          <cx:pt idx="8588">3</cx:pt>
          <cx:pt idx="8589">4</cx:pt>
          <cx:pt idx="8590">3</cx:pt>
          <cx:pt idx="8591">1</cx:pt>
          <cx:pt idx="8592">2</cx:pt>
          <cx:pt idx="8593">1</cx:pt>
          <cx:pt idx="8594">2</cx:pt>
          <cx:pt idx="8595">3</cx:pt>
          <cx:pt idx="8596">8</cx:pt>
          <cx:pt idx="8597">4</cx:pt>
          <cx:pt idx="8598">1</cx:pt>
          <cx:pt idx="8599">2</cx:pt>
          <cx:pt idx="8600">1</cx:pt>
          <cx:pt idx="8601">1</cx:pt>
          <cx:pt idx="8602">3</cx:pt>
          <cx:pt idx="8603">2</cx:pt>
          <cx:pt idx="8604">3</cx:pt>
          <cx:pt idx="8605">1</cx:pt>
          <cx:pt idx="8606">3</cx:pt>
          <cx:pt idx="8607">4</cx:pt>
          <cx:pt idx="8608">1</cx:pt>
          <cx:pt idx="8609">3</cx:pt>
          <cx:pt idx="8610">1</cx:pt>
          <cx:pt idx="8611">2</cx:pt>
          <cx:pt idx="8612">2</cx:pt>
          <cx:pt idx="8613">3</cx:pt>
          <cx:pt idx="8614">2</cx:pt>
          <cx:pt idx="8615">4</cx:pt>
          <cx:pt idx="8616">1</cx:pt>
          <cx:pt idx="8617">2</cx:pt>
          <cx:pt idx="8618">7</cx:pt>
          <cx:pt idx="8619">1</cx:pt>
          <cx:pt idx="8620">2</cx:pt>
          <cx:pt idx="8621">3</cx:pt>
          <cx:pt idx="8622">1</cx:pt>
          <cx:pt idx="8623">4</cx:pt>
          <cx:pt idx="8624">1</cx:pt>
          <cx:pt idx="8625">1</cx:pt>
          <cx:pt idx="8626">3</cx:pt>
          <cx:pt idx="8627">1</cx:pt>
          <cx:pt idx="8628">5</cx:pt>
          <cx:pt idx="8629">4</cx:pt>
          <cx:pt idx="8630">2</cx:pt>
          <cx:pt idx="8631">2</cx:pt>
          <cx:pt idx="8632">2</cx:pt>
          <cx:pt idx="8633">2</cx:pt>
          <cx:pt idx="8634">2</cx:pt>
          <cx:pt idx="8635">2</cx:pt>
          <cx:pt idx="8636">1</cx:pt>
          <cx:pt idx="8637">2</cx:pt>
          <cx:pt idx="8638">4</cx:pt>
          <cx:pt idx="8639">9</cx:pt>
          <cx:pt idx="8640">1</cx:pt>
          <cx:pt idx="8641">2</cx:pt>
          <cx:pt idx="8642">1</cx:pt>
          <cx:pt idx="8643">3</cx:pt>
          <cx:pt idx="8644">3</cx:pt>
          <cx:pt idx="8645">1</cx:pt>
          <cx:pt idx="8646">2</cx:pt>
          <cx:pt idx="8647">2</cx:pt>
          <cx:pt idx="8648">1</cx:pt>
          <cx:pt idx="8649">4</cx:pt>
          <cx:pt idx="8650">4</cx:pt>
          <cx:pt idx="8651">2</cx:pt>
          <cx:pt idx="8652">5</cx:pt>
          <cx:pt idx="8653">3</cx:pt>
          <cx:pt idx="8654">1</cx:pt>
          <cx:pt idx="8655">4</cx:pt>
          <cx:pt idx="8656">1</cx:pt>
          <cx:pt idx="8657">1</cx:pt>
          <cx:pt idx="8658">1</cx:pt>
          <cx:pt idx="8659">1</cx:pt>
          <cx:pt idx="8660">2</cx:pt>
          <cx:pt idx="8661">1</cx:pt>
          <cx:pt idx="8662">1</cx:pt>
          <cx:pt idx="8663">5</cx:pt>
          <cx:pt idx="8664">2</cx:pt>
          <cx:pt idx="8665">3</cx:pt>
          <cx:pt idx="8666">1</cx:pt>
          <cx:pt idx="8667">3</cx:pt>
          <cx:pt idx="8668">1</cx:pt>
          <cx:pt idx="8669">1</cx:pt>
          <cx:pt idx="8670">1</cx:pt>
          <cx:pt idx="8671">1</cx:pt>
          <cx:pt idx="8672">6</cx:pt>
          <cx:pt idx="8673">4</cx:pt>
          <cx:pt idx="8674">2</cx:pt>
          <cx:pt idx="8675">6</cx:pt>
          <cx:pt idx="8676">1</cx:pt>
          <cx:pt idx="8677">1</cx:pt>
          <cx:pt idx="8678">3</cx:pt>
          <cx:pt idx="8679">1</cx:pt>
          <cx:pt idx="8680">5</cx:pt>
          <cx:pt idx="8681">1</cx:pt>
          <cx:pt idx="8682">4</cx:pt>
          <cx:pt idx="8683">3</cx:pt>
          <cx:pt idx="8684">2</cx:pt>
          <cx:pt idx="8685">4</cx:pt>
          <cx:pt idx="8686">6</cx:pt>
          <cx:pt idx="8687">1</cx:pt>
          <cx:pt idx="8688">1</cx:pt>
          <cx:pt idx="8689">3</cx:pt>
          <cx:pt idx="8690">2</cx:pt>
          <cx:pt idx="8691">4</cx:pt>
          <cx:pt idx="8692">6</cx:pt>
          <cx:pt idx="8693">4</cx:pt>
          <cx:pt idx="8694">2</cx:pt>
          <cx:pt idx="8695">2</cx:pt>
          <cx:pt idx="8696">1</cx:pt>
          <cx:pt idx="8697">1</cx:pt>
          <cx:pt idx="8698">2</cx:pt>
          <cx:pt idx="8699">2</cx:pt>
          <cx:pt idx="8700">2</cx:pt>
          <cx:pt idx="8701">3</cx:pt>
          <cx:pt idx="8702">1</cx:pt>
          <cx:pt idx="8703">1</cx:pt>
          <cx:pt idx="8704">2</cx:pt>
          <cx:pt idx="8705">2</cx:pt>
          <cx:pt idx="8706">2</cx:pt>
          <cx:pt idx="8707">2</cx:pt>
          <cx:pt idx="8708">2</cx:pt>
          <cx:pt idx="8709">2</cx:pt>
          <cx:pt idx="8710">2</cx:pt>
          <cx:pt idx="8711">1</cx:pt>
          <cx:pt idx="8712">1</cx:pt>
          <cx:pt idx="8713">2</cx:pt>
          <cx:pt idx="8714">2</cx:pt>
          <cx:pt idx="8715">3</cx:pt>
          <cx:pt idx="8716">2</cx:pt>
          <cx:pt idx="8717">2</cx:pt>
          <cx:pt idx="8718">4</cx:pt>
          <cx:pt idx="8719">1</cx:pt>
          <cx:pt idx="8720">3</cx:pt>
          <cx:pt idx="8721">1</cx:pt>
          <cx:pt idx="8722">1</cx:pt>
          <cx:pt idx="8723">7</cx:pt>
          <cx:pt idx="8724">1</cx:pt>
          <cx:pt idx="8725">3</cx:pt>
          <cx:pt idx="8726">2</cx:pt>
          <cx:pt idx="8727">5</cx:pt>
          <cx:pt idx="8728">3</cx:pt>
          <cx:pt idx="8729">1</cx:pt>
          <cx:pt idx="8730">2</cx:pt>
          <cx:pt idx="8731">2</cx:pt>
          <cx:pt idx="8732">2</cx:pt>
          <cx:pt idx="8733">1</cx:pt>
          <cx:pt idx="8734">1</cx:pt>
          <cx:pt idx="8735">2</cx:pt>
          <cx:pt idx="8736">1</cx:pt>
          <cx:pt idx="8737">1</cx:pt>
          <cx:pt idx="8738">2</cx:pt>
          <cx:pt idx="8739">1</cx:pt>
          <cx:pt idx="8740">1</cx:pt>
          <cx:pt idx="8741">2</cx:pt>
          <cx:pt idx="8742">1</cx:pt>
          <cx:pt idx="8743">3</cx:pt>
          <cx:pt idx="8744">3</cx:pt>
          <cx:pt idx="8745">1</cx:pt>
          <cx:pt idx="8746">2</cx:pt>
          <cx:pt idx="8747">1</cx:pt>
          <cx:pt idx="8748">3</cx:pt>
          <cx:pt idx="8749">2</cx:pt>
          <cx:pt idx="8750">3</cx:pt>
          <cx:pt idx="8751">4</cx:pt>
          <cx:pt idx="8752">3</cx:pt>
          <cx:pt idx="8753">3</cx:pt>
          <cx:pt idx="8754">1</cx:pt>
          <cx:pt idx="8755">1</cx:pt>
          <cx:pt idx="8756">1</cx:pt>
          <cx:pt idx="8757">1</cx:pt>
          <cx:pt idx="8758">1</cx:pt>
          <cx:pt idx="8759">3</cx:pt>
          <cx:pt idx="8760">2</cx:pt>
          <cx:pt idx="8761">1</cx:pt>
          <cx:pt idx="8762">4</cx:pt>
          <cx:pt idx="8763">3</cx:pt>
          <cx:pt idx="8764">2</cx:pt>
          <cx:pt idx="8765">4</cx:pt>
          <cx:pt idx="8766">6</cx:pt>
          <cx:pt idx="8767">2</cx:pt>
          <cx:pt idx="8768">2</cx:pt>
          <cx:pt idx="8769">2</cx:pt>
          <cx:pt idx="8770">2</cx:pt>
          <cx:pt idx="8771">1</cx:pt>
          <cx:pt idx="8772">2</cx:pt>
          <cx:pt idx="8773">2</cx:pt>
          <cx:pt idx="8774">3</cx:pt>
          <cx:pt idx="8775">3</cx:pt>
          <cx:pt idx="8776">2</cx:pt>
          <cx:pt idx="8777">1</cx:pt>
          <cx:pt idx="8778">4</cx:pt>
          <cx:pt idx="8779">1</cx:pt>
          <cx:pt idx="8780">1</cx:pt>
          <cx:pt idx="8781">1</cx:pt>
          <cx:pt idx="8782">2</cx:pt>
          <cx:pt idx="8783">2</cx:pt>
          <cx:pt idx="8784">2</cx:pt>
          <cx:pt idx="8785">2</cx:pt>
          <cx:pt idx="8786">2</cx:pt>
          <cx:pt idx="8787">2</cx:pt>
          <cx:pt idx="8788">3</cx:pt>
          <cx:pt idx="8789">1</cx:pt>
          <cx:pt idx="8790">1</cx:pt>
          <cx:pt idx="8791">3</cx:pt>
          <cx:pt idx="8792">1</cx:pt>
          <cx:pt idx="8793">3</cx:pt>
          <cx:pt idx="8794">2</cx:pt>
          <cx:pt idx="8795">1</cx:pt>
          <cx:pt idx="8796">1</cx:pt>
          <cx:pt idx="8797">2</cx:pt>
          <cx:pt idx="8798">1</cx:pt>
          <cx:pt idx="8799">1</cx:pt>
          <cx:pt idx="8800">5</cx:pt>
          <cx:pt idx="8801">2</cx:pt>
          <cx:pt idx="8802">2</cx:pt>
          <cx:pt idx="8803">1</cx:pt>
          <cx:pt idx="8804">1</cx:pt>
          <cx:pt idx="8805">1</cx:pt>
          <cx:pt idx="8806">4</cx:pt>
          <cx:pt idx="8807">2</cx:pt>
          <cx:pt idx="8808">1</cx:pt>
          <cx:pt idx="8809">4</cx:pt>
          <cx:pt idx="8810">1</cx:pt>
          <cx:pt idx="8811">5</cx:pt>
          <cx:pt idx="8812">5</cx:pt>
          <cx:pt idx="8813">1</cx:pt>
          <cx:pt idx="8814">4</cx:pt>
          <cx:pt idx="8815">1</cx:pt>
          <cx:pt idx="8816">3</cx:pt>
          <cx:pt idx="8817">1</cx:pt>
          <cx:pt idx="8818">4</cx:pt>
          <cx:pt idx="8819">2</cx:pt>
          <cx:pt idx="8820">2</cx:pt>
          <cx:pt idx="8821">2</cx:pt>
          <cx:pt idx="8822">3</cx:pt>
          <cx:pt idx="8823">3</cx:pt>
          <cx:pt idx="8824">3</cx:pt>
          <cx:pt idx="8825">4</cx:pt>
          <cx:pt idx="8826">3</cx:pt>
          <cx:pt idx="8827">4</cx:pt>
          <cx:pt idx="8828">1</cx:pt>
          <cx:pt idx="8829">1</cx:pt>
          <cx:pt idx="8830">1</cx:pt>
          <cx:pt idx="8831">2</cx:pt>
          <cx:pt idx="8832">3</cx:pt>
          <cx:pt idx="8833">1</cx:pt>
          <cx:pt idx="8834">1</cx:pt>
          <cx:pt idx="8835">1</cx:pt>
          <cx:pt idx="8836">1</cx:pt>
          <cx:pt idx="8837">4</cx:pt>
          <cx:pt idx="8838">1</cx:pt>
          <cx:pt idx="8839">1</cx:pt>
          <cx:pt idx="8840">1</cx:pt>
          <cx:pt idx="8841">2</cx:pt>
          <cx:pt idx="8842">2</cx:pt>
          <cx:pt idx="8843">1</cx:pt>
          <cx:pt idx="8844">3</cx:pt>
          <cx:pt idx="8845">2</cx:pt>
          <cx:pt idx="8846">1</cx:pt>
          <cx:pt idx="8847">3</cx:pt>
          <cx:pt idx="8848">3</cx:pt>
          <cx:pt idx="8849">1</cx:pt>
          <cx:pt idx="8850">2</cx:pt>
          <cx:pt idx="8851">2</cx:pt>
          <cx:pt idx="8852">2</cx:pt>
          <cx:pt idx="8853">5</cx:pt>
          <cx:pt idx="8854">1</cx:pt>
          <cx:pt idx="8855">1</cx:pt>
          <cx:pt idx="8856">1</cx:pt>
          <cx:pt idx="8857">1</cx:pt>
          <cx:pt idx="8858">3</cx:pt>
          <cx:pt idx="8859">2</cx:pt>
          <cx:pt idx="8860">5</cx:pt>
          <cx:pt idx="8861">2</cx:pt>
          <cx:pt idx="8862">1</cx:pt>
          <cx:pt idx="8863">2</cx:pt>
          <cx:pt idx="8864">1</cx:pt>
          <cx:pt idx="8865">3</cx:pt>
          <cx:pt idx="8866">2</cx:pt>
          <cx:pt idx="8867">3</cx:pt>
          <cx:pt idx="8868">4</cx:pt>
          <cx:pt idx="8869">2</cx:pt>
          <cx:pt idx="8870">3</cx:pt>
          <cx:pt idx="8871">2</cx:pt>
          <cx:pt idx="8872">2</cx:pt>
          <cx:pt idx="8873">5</cx:pt>
          <cx:pt idx="8874">1</cx:pt>
          <cx:pt idx="8875">3</cx:pt>
          <cx:pt idx="8876">4</cx:pt>
          <cx:pt idx="8877">3</cx:pt>
          <cx:pt idx="8878">1</cx:pt>
          <cx:pt idx="8879">1</cx:pt>
          <cx:pt idx="8880">4</cx:pt>
          <cx:pt idx="8881">3</cx:pt>
          <cx:pt idx="8882">4</cx:pt>
          <cx:pt idx="8883">2</cx:pt>
          <cx:pt idx="8884">3</cx:pt>
          <cx:pt idx="8885">2</cx:pt>
          <cx:pt idx="8886">5</cx:pt>
          <cx:pt idx="8887">1</cx:pt>
          <cx:pt idx="8888">2</cx:pt>
          <cx:pt idx="8889">1</cx:pt>
          <cx:pt idx="8890">2</cx:pt>
          <cx:pt idx="8891">2</cx:pt>
          <cx:pt idx="8892">1</cx:pt>
          <cx:pt idx="8893">3</cx:pt>
          <cx:pt idx="8894">2</cx:pt>
          <cx:pt idx="8895">3</cx:pt>
          <cx:pt idx="8896">2</cx:pt>
          <cx:pt idx="8897">1</cx:pt>
          <cx:pt idx="8898">4</cx:pt>
          <cx:pt idx="8899">1</cx:pt>
          <cx:pt idx="8900">1</cx:pt>
          <cx:pt idx="8901">1</cx:pt>
          <cx:pt idx="8902">2</cx:pt>
          <cx:pt idx="8903">2</cx:pt>
          <cx:pt idx="8904">1</cx:pt>
          <cx:pt idx="8905">5</cx:pt>
          <cx:pt idx="8906">6</cx:pt>
          <cx:pt idx="8907">1</cx:pt>
          <cx:pt idx="8908">2</cx:pt>
          <cx:pt idx="8909">1</cx:pt>
          <cx:pt idx="8910">2</cx:pt>
          <cx:pt idx="8911">2</cx:pt>
          <cx:pt idx="8912">2</cx:pt>
          <cx:pt idx="8913">4</cx:pt>
          <cx:pt idx="8914">2</cx:pt>
          <cx:pt idx="8915">2</cx:pt>
          <cx:pt idx="8916">1</cx:pt>
          <cx:pt idx="8917">1</cx:pt>
          <cx:pt idx="8918">2</cx:pt>
          <cx:pt idx="8919">3</cx:pt>
          <cx:pt idx="8920">1</cx:pt>
          <cx:pt idx="8921">2</cx:pt>
          <cx:pt idx="8922">1</cx:pt>
          <cx:pt idx="8923">1</cx:pt>
          <cx:pt idx="8924">2</cx:pt>
          <cx:pt idx="8925">2</cx:pt>
          <cx:pt idx="8926">6</cx:pt>
          <cx:pt idx="8927">1</cx:pt>
          <cx:pt idx="8928">5</cx:pt>
          <cx:pt idx="8929">1</cx:pt>
          <cx:pt idx="8930">2</cx:pt>
          <cx:pt idx="8931">3</cx:pt>
          <cx:pt idx="8932">3</cx:pt>
          <cx:pt idx="8933">1</cx:pt>
          <cx:pt idx="8934">1</cx:pt>
          <cx:pt idx="8935">5</cx:pt>
          <cx:pt idx="8936">2</cx:pt>
          <cx:pt idx="8937">3</cx:pt>
          <cx:pt idx="8938">2</cx:pt>
          <cx:pt idx="8939">5</cx:pt>
          <cx:pt idx="8940">2</cx:pt>
          <cx:pt idx="8941">2</cx:pt>
          <cx:pt idx="8942">4</cx:pt>
          <cx:pt idx="8943">2</cx:pt>
          <cx:pt idx="8944">2</cx:pt>
          <cx:pt idx="8945">2</cx:pt>
          <cx:pt idx="8946">3</cx:pt>
          <cx:pt idx="8947">2</cx:pt>
          <cx:pt idx="8948">2</cx:pt>
          <cx:pt idx="8949">2</cx:pt>
          <cx:pt idx="8950">1</cx:pt>
          <cx:pt idx="8951">2</cx:pt>
          <cx:pt idx="8952">1</cx:pt>
          <cx:pt idx="8953">2</cx:pt>
          <cx:pt idx="8954">4</cx:pt>
          <cx:pt idx="8955">2</cx:pt>
          <cx:pt idx="8956">1</cx:pt>
          <cx:pt idx="8957">1</cx:pt>
          <cx:pt idx="8958">1</cx:pt>
          <cx:pt idx="8959">4</cx:pt>
          <cx:pt idx="8960">3</cx:pt>
          <cx:pt idx="8961">1</cx:pt>
          <cx:pt idx="8962">2</cx:pt>
          <cx:pt idx="8963">4</cx:pt>
          <cx:pt idx="8964">4</cx:pt>
          <cx:pt idx="8965">1</cx:pt>
          <cx:pt idx="8966">1</cx:pt>
          <cx:pt idx="8967">2</cx:pt>
          <cx:pt idx="8968">1</cx:pt>
          <cx:pt idx="8969">1</cx:pt>
          <cx:pt idx="8970">2</cx:pt>
          <cx:pt idx="8971">3</cx:pt>
          <cx:pt idx="8972">1</cx:pt>
          <cx:pt idx="8973">2</cx:pt>
          <cx:pt idx="8974">1</cx:pt>
          <cx:pt idx="8975">5</cx:pt>
          <cx:pt idx="8976">2</cx:pt>
          <cx:pt idx="8977">2</cx:pt>
          <cx:pt idx="8978">1</cx:pt>
          <cx:pt idx="8979">3</cx:pt>
          <cx:pt idx="8980">3</cx:pt>
          <cx:pt idx="8981">2</cx:pt>
          <cx:pt idx="8982">3</cx:pt>
          <cx:pt idx="8983">2</cx:pt>
          <cx:pt idx="8984">6</cx:pt>
          <cx:pt idx="8985">2</cx:pt>
          <cx:pt idx="8986">2</cx:pt>
          <cx:pt idx="8987">2</cx:pt>
          <cx:pt idx="8988">1</cx:pt>
          <cx:pt idx="8989">2</cx:pt>
          <cx:pt idx="8990">3</cx:pt>
          <cx:pt idx="8991">2</cx:pt>
          <cx:pt idx="8992">1</cx:pt>
          <cx:pt idx="8993">1</cx:pt>
          <cx:pt idx="8994">4</cx:pt>
          <cx:pt idx="8995">1</cx:pt>
          <cx:pt idx="8996">1</cx:pt>
          <cx:pt idx="8997">2</cx:pt>
          <cx:pt idx="8998">4</cx:pt>
          <cx:pt idx="8999">2</cx:pt>
          <cx:pt idx="9000">1</cx:pt>
          <cx:pt idx="9001">5</cx:pt>
          <cx:pt idx="9002">3</cx:pt>
          <cx:pt idx="9003">5</cx:pt>
          <cx:pt idx="9004">3</cx:pt>
          <cx:pt idx="9005">5</cx:pt>
          <cx:pt idx="9006">1</cx:pt>
          <cx:pt idx="9007">7</cx:pt>
          <cx:pt idx="9008">3</cx:pt>
          <cx:pt idx="9009">2</cx:pt>
          <cx:pt idx="9010">4</cx:pt>
          <cx:pt idx="9011">4</cx:pt>
          <cx:pt idx="9012">1</cx:pt>
          <cx:pt idx="9013">3</cx:pt>
          <cx:pt idx="9014">1</cx:pt>
          <cx:pt idx="9015">2</cx:pt>
          <cx:pt idx="9016">5</cx:pt>
          <cx:pt idx="9017">2</cx:pt>
          <cx:pt idx="9018">1</cx:pt>
          <cx:pt idx="9019">3</cx:pt>
          <cx:pt idx="9020">1</cx:pt>
          <cx:pt idx="9021">1</cx:pt>
          <cx:pt idx="9022">1</cx:pt>
          <cx:pt idx="9023">2</cx:pt>
          <cx:pt idx="9024">3</cx:pt>
          <cx:pt idx="9025">1</cx:pt>
          <cx:pt idx="9026">1</cx:pt>
          <cx:pt idx="9027">4</cx:pt>
          <cx:pt idx="9028">6</cx:pt>
          <cx:pt idx="9029">2</cx:pt>
          <cx:pt idx="9030">1</cx:pt>
          <cx:pt idx="9031">3</cx:pt>
          <cx:pt idx="9032">1</cx:pt>
          <cx:pt idx="9033">1</cx:pt>
          <cx:pt idx="9034">1</cx:pt>
          <cx:pt idx="9035">1</cx:pt>
          <cx:pt idx="9036">4</cx:pt>
          <cx:pt idx="9037">3</cx:pt>
          <cx:pt idx="9038">2</cx:pt>
          <cx:pt idx="9039">3</cx:pt>
          <cx:pt idx="9040">3</cx:pt>
          <cx:pt idx="9041">3</cx:pt>
          <cx:pt idx="9042">3</cx:pt>
          <cx:pt idx="9043">1</cx:pt>
          <cx:pt idx="9044">3</cx:pt>
          <cx:pt idx="9045">2</cx:pt>
          <cx:pt idx="9046">1</cx:pt>
          <cx:pt idx="9047">1</cx:pt>
          <cx:pt idx="9048">2</cx:pt>
          <cx:pt idx="9049">2</cx:pt>
          <cx:pt idx="9050">2</cx:pt>
          <cx:pt idx="9051">5</cx:pt>
          <cx:pt idx="9052">1</cx:pt>
          <cx:pt idx="9053">4</cx:pt>
          <cx:pt idx="9054">1</cx:pt>
          <cx:pt idx="9055">2</cx:pt>
          <cx:pt idx="9056">1</cx:pt>
          <cx:pt idx="9057">3</cx:pt>
          <cx:pt idx="9058">6</cx:pt>
          <cx:pt idx="9059">3</cx:pt>
          <cx:pt idx="9060">4</cx:pt>
          <cx:pt idx="9061">2</cx:pt>
          <cx:pt idx="9062">1</cx:pt>
          <cx:pt idx="9063">1</cx:pt>
          <cx:pt idx="9064">3</cx:pt>
          <cx:pt idx="9065">1</cx:pt>
          <cx:pt idx="9066">3</cx:pt>
          <cx:pt idx="9067">4</cx:pt>
          <cx:pt idx="9068">4</cx:pt>
          <cx:pt idx="9069">2</cx:pt>
          <cx:pt idx="9070">3</cx:pt>
          <cx:pt idx="9071">3</cx:pt>
          <cx:pt idx="9072">5</cx:pt>
          <cx:pt idx="9073">1</cx:pt>
          <cx:pt idx="9074">2</cx:pt>
          <cx:pt idx="9075">4</cx:pt>
          <cx:pt idx="9076">1</cx:pt>
          <cx:pt idx="9077">1</cx:pt>
          <cx:pt idx="9078">2</cx:pt>
          <cx:pt idx="9079">1</cx:pt>
          <cx:pt idx="9080">1</cx:pt>
          <cx:pt idx="9081">2</cx:pt>
          <cx:pt idx="9082">4</cx:pt>
          <cx:pt idx="9083">2</cx:pt>
          <cx:pt idx="9084">4</cx:pt>
          <cx:pt idx="9085">4</cx:pt>
          <cx:pt idx="9086">1</cx:pt>
          <cx:pt idx="9087">1</cx:pt>
          <cx:pt idx="9088">1</cx:pt>
          <cx:pt idx="9089">2</cx:pt>
          <cx:pt idx="9090">4</cx:pt>
          <cx:pt idx="9091">1</cx:pt>
          <cx:pt idx="9092">3</cx:pt>
          <cx:pt idx="9093">1</cx:pt>
          <cx:pt idx="9094">1</cx:pt>
          <cx:pt idx="9095">2</cx:pt>
          <cx:pt idx="9096">1</cx:pt>
          <cx:pt idx="9097">1</cx:pt>
          <cx:pt idx="9098">3</cx:pt>
          <cx:pt idx="9099">2</cx:pt>
          <cx:pt idx="9100">5</cx:pt>
          <cx:pt idx="9101">1</cx:pt>
          <cx:pt idx="9102">1</cx:pt>
          <cx:pt idx="9103">1</cx:pt>
          <cx:pt idx="9104">3</cx:pt>
          <cx:pt idx="9105">3</cx:pt>
          <cx:pt idx="9106">4</cx:pt>
          <cx:pt idx="9107">2</cx:pt>
          <cx:pt idx="9108">1</cx:pt>
          <cx:pt idx="9109">4</cx:pt>
          <cx:pt idx="9110">2</cx:pt>
          <cx:pt idx="9111">1</cx:pt>
          <cx:pt idx="9112">3</cx:pt>
          <cx:pt idx="9113">3</cx:pt>
          <cx:pt idx="9114">1</cx:pt>
          <cx:pt idx="9115">3</cx:pt>
          <cx:pt idx="9116">1</cx:pt>
          <cx:pt idx="9117">1</cx:pt>
          <cx:pt idx="9118">2</cx:pt>
          <cx:pt idx="9119">2</cx:pt>
          <cx:pt idx="9120">3</cx:pt>
          <cx:pt idx="9121">3</cx:pt>
          <cx:pt idx="9122">1</cx:pt>
          <cx:pt idx="9123">2</cx:pt>
          <cx:pt idx="9124">3</cx:pt>
          <cx:pt idx="9125">3</cx:pt>
          <cx:pt idx="9126">3</cx:pt>
          <cx:pt idx="9127">1</cx:pt>
          <cx:pt idx="9128">1</cx:pt>
          <cx:pt idx="9129">1</cx:pt>
          <cx:pt idx="9130">1</cx:pt>
          <cx:pt idx="9131">1</cx:pt>
          <cx:pt idx="9132">5</cx:pt>
          <cx:pt idx="9133">1</cx:pt>
          <cx:pt idx="9134">2</cx:pt>
          <cx:pt idx="9135">2</cx:pt>
          <cx:pt idx="9136">2</cx:pt>
          <cx:pt idx="9137">2</cx:pt>
          <cx:pt idx="9138">1</cx:pt>
          <cx:pt idx="9139">1</cx:pt>
          <cx:pt idx="9140">2</cx:pt>
          <cx:pt idx="9141">2</cx:pt>
          <cx:pt idx="9142">1</cx:pt>
          <cx:pt idx="9143">1</cx:pt>
          <cx:pt idx="9144">1</cx:pt>
          <cx:pt idx="9145">1</cx:pt>
          <cx:pt idx="9146">3</cx:pt>
          <cx:pt idx="9147">1</cx:pt>
          <cx:pt idx="9148">1</cx:pt>
          <cx:pt idx="9149">2</cx:pt>
          <cx:pt idx="9150">3</cx:pt>
          <cx:pt idx="9151">3</cx:pt>
          <cx:pt idx="9152">3</cx:pt>
          <cx:pt idx="9153">2</cx:pt>
          <cx:pt idx="9154">1</cx:pt>
          <cx:pt idx="9155">1</cx:pt>
          <cx:pt idx="9156">2</cx:pt>
          <cx:pt idx="9157">1</cx:pt>
          <cx:pt idx="9158">1</cx:pt>
          <cx:pt idx="9159">2</cx:pt>
          <cx:pt idx="9160">1</cx:pt>
          <cx:pt idx="9161">1</cx:pt>
          <cx:pt idx="9162">2</cx:pt>
          <cx:pt idx="9163">4</cx:pt>
          <cx:pt idx="9164">1</cx:pt>
          <cx:pt idx="9165">6</cx:pt>
          <cx:pt idx="9166">3</cx:pt>
          <cx:pt idx="9167">2</cx:pt>
          <cx:pt idx="9168">2</cx:pt>
          <cx:pt idx="9169">1</cx:pt>
          <cx:pt idx="9170">1</cx:pt>
          <cx:pt idx="9171">3</cx:pt>
          <cx:pt idx="9172">7</cx:pt>
          <cx:pt idx="9173">2</cx:pt>
          <cx:pt idx="9174">2</cx:pt>
          <cx:pt idx="9175">2</cx:pt>
          <cx:pt idx="9176">2</cx:pt>
          <cx:pt idx="9177">2</cx:pt>
          <cx:pt idx="9178">2</cx:pt>
          <cx:pt idx="9179">2</cx:pt>
          <cx:pt idx="9180">2</cx:pt>
          <cx:pt idx="9181">2</cx:pt>
          <cx:pt idx="9182">2</cx:pt>
          <cx:pt idx="9183">7</cx:pt>
          <cx:pt idx="9184">2</cx:pt>
          <cx:pt idx="9185">5</cx:pt>
          <cx:pt idx="9186">2</cx:pt>
          <cx:pt idx="9187">1</cx:pt>
          <cx:pt idx="9188">2</cx:pt>
          <cx:pt idx="9189">5</cx:pt>
          <cx:pt idx="9190">1</cx:pt>
          <cx:pt idx="9191">3</cx:pt>
          <cx:pt idx="9192">4</cx:pt>
          <cx:pt idx="9193">2</cx:pt>
          <cx:pt idx="9194">1</cx:pt>
          <cx:pt idx="9195">4</cx:pt>
          <cx:pt idx="9196">1</cx:pt>
          <cx:pt idx="9197">2</cx:pt>
          <cx:pt idx="9198">2</cx:pt>
          <cx:pt idx="9199">4</cx:pt>
          <cx:pt idx="9200">3</cx:pt>
          <cx:pt idx="9201">5</cx:pt>
          <cx:pt idx="9202">2</cx:pt>
          <cx:pt idx="9203">3</cx:pt>
          <cx:pt idx="9204">2</cx:pt>
          <cx:pt idx="9205">2</cx:pt>
          <cx:pt idx="9206">1</cx:pt>
          <cx:pt idx="9207">3</cx:pt>
          <cx:pt idx="9208">2</cx:pt>
          <cx:pt idx="9209">2</cx:pt>
          <cx:pt idx="9210">1</cx:pt>
          <cx:pt idx="9211">2</cx:pt>
          <cx:pt idx="9212">3</cx:pt>
          <cx:pt idx="9213">3</cx:pt>
          <cx:pt idx="9214">4</cx:pt>
          <cx:pt idx="9215">1</cx:pt>
          <cx:pt idx="9216">2</cx:pt>
          <cx:pt idx="9217">4</cx:pt>
          <cx:pt idx="9218">3</cx:pt>
          <cx:pt idx="9219">6</cx:pt>
          <cx:pt idx="9220">3</cx:pt>
          <cx:pt idx="9221">2</cx:pt>
          <cx:pt idx="9222">2</cx:pt>
          <cx:pt idx="9223">2</cx:pt>
          <cx:pt idx="9224">2</cx:pt>
          <cx:pt idx="9225">1</cx:pt>
          <cx:pt idx="9226">1</cx:pt>
          <cx:pt idx="9227">2</cx:pt>
          <cx:pt idx="9228">1</cx:pt>
          <cx:pt idx="9229">1</cx:pt>
          <cx:pt idx="9230">2</cx:pt>
          <cx:pt idx="9231">5</cx:pt>
          <cx:pt idx="9232">4</cx:pt>
          <cx:pt idx="9233">2</cx:pt>
          <cx:pt idx="9234">5</cx:pt>
          <cx:pt idx="9235">2</cx:pt>
          <cx:pt idx="9236">1</cx:pt>
          <cx:pt idx="9237">2</cx:pt>
          <cx:pt idx="9238">1</cx:pt>
          <cx:pt idx="9239">1</cx:pt>
          <cx:pt idx="9240">3</cx:pt>
          <cx:pt idx="9241">10</cx:pt>
          <cx:pt idx="9242">2</cx:pt>
          <cx:pt idx="9243">1</cx:pt>
          <cx:pt idx="9244">1</cx:pt>
          <cx:pt idx="9245">1</cx:pt>
          <cx:pt idx="9246">1</cx:pt>
          <cx:pt idx="9247">3</cx:pt>
          <cx:pt idx="9248">2</cx:pt>
          <cx:pt idx="9249">1</cx:pt>
          <cx:pt idx="9250">2</cx:pt>
          <cx:pt idx="9251">2</cx:pt>
          <cx:pt idx="9252">1</cx:pt>
          <cx:pt idx="9253">2</cx:pt>
          <cx:pt idx="9254">2</cx:pt>
          <cx:pt idx="9255">6</cx:pt>
          <cx:pt idx="9256">3</cx:pt>
          <cx:pt idx="9257">3</cx:pt>
          <cx:pt idx="9258">1</cx:pt>
          <cx:pt idx="9259">1</cx:pt>
          <cx:pt idx="9260">3</cx:pt>
          <cx:pt idx="9261">2</cx:pt>
          <cx:pt idx="9262">1</cx:pt>
          <cx:pt idx="9263">2</cx:pt>
          <cx:pt idx="9264">2</cx:pt>
          <cx:pt idx="9265">4</cx:pt>
          <cx:pt idx="9266">1</cx:pt>
          <cx:pt idx="9267">3</cx:pt>
          <cx:pt idx="9268">2</cx:pt>
          <cx:pt idx="9269">2</cx:pt>
          <cx:pt idx="9270">1</cx:pt>
          <cx:pt idx="9271">1</cx:pt>
          <cx:pt idx="9272">2</cx:pt>
          <cx:pt idx="9273">2</cx:pt>
          <cx:pt idx="9274">2</cx:pt>
          <cx:pt idx="9275">2</cx:pt>
          <cx:pt idx="9276">3</cx:pt>
          <cx:pt idx="9277">2</cx:pt>
          <cx:pt idx="9278">1</cx:pt>
          <cx:pt idx="9279">3</cx:pt>
          <cx:pt idx="9280">3</cx:pt>
          <cx:pt idx="9281">1</cx:pt>
          <cx:pt idx="9282">3</cx:pt>
          <cx:pt idx="9283">8</cx:pt>
          <cx:pt idx="9284">5</cx:pt>
          <cx:pt idx="9285">4</cx:pt>
          <cx:pt idx="9286">2</cx:pt>
          <cx:pt idx="9287">2</cx:pt>
          <cx:pt idx="9288">2</cx:pt>
          <cx:pt idx="9289">1</cx:pt>
          <cx:pt idx="9290">3</cx:pt>
          <cx:pt idx="9291">2</cx:pt>
          <cx:pt idx="9292">4</cx:pt>
          <cx:pt idx="9293">2</cx:pt>
          <cx:pt idx="9294">2</cx:pt>
          <cx:pt idx="9295">1</cx:pt>
          <cx:pt idx="9296">2</cx:pt>
          <cx:pt idx="9297">6</cx:pt>
          <cx:pt idx="9298">2</cx:pt>
          <cx:pt idx="9299">1</cx:pt>
          <cx:pt idx="9300">2</cx:pt>
          <cx:pt idx="9301">3</cx:pt>
          <cx:pt idx="9302">1</cx:pt>
          <cx:pt idx="9303">3</cx:pt>
          <cx:pt idx="9304">3</cx:pt>
          <cx:pt idx="9305">4</cx:pt>
          <cx:pt idx="9306">3</cx:pt>
          <cx:pt idx="9307">2</cx:pt>
          <cx:pt idx="9308">3</cx:pt>
          <cx:pt idx="9309">2</cx:pt>
          <cx:pt idx="9310">1</cx:pt>
          <cx:pt idx="9311">1</cx:pt>
          <cx:pt idx="9312">2</cx:pt>
          <cx:pt idx="9313">2</cx:pt>
          <cx:pt idx="9314">2</cx:pt>
          <cx:pt idx="9315">1</cx:pt>
          <cx:pt idx="9316">2</cx:pt>
          <cx:pt idx="9317">1</cx:pt>
          <cx:pt idx="9318">5</cx:pt>
          <cx:pt idx="9319">1</cx:pt>
          <cx:pt idx="9320">1</cx:pt>
          <cx:pt idx="9321">1</cx:pt>
          <cx:pt idx="9322">4</cx:pt>
          <cx:pt idx="9323">9</cx:pt>
          <cx:pt idx="9324">2</cx:pt>
          <cx:pt idx="9325">2</cx:pt>
          <cx:pt idx="9326">1</cx:pt>
          <cx:pt idx="9327">1</cx:pt>
          <cx:pt idx="9328">2</cx:pt>
          <cx:pt idx="9329">1</cx:pt>
          <cx:pt idx="9330">1</cx:pt>
          <cx:pt idx="9331">1</cx:pt>
          <cx:pt idx="9332">3</cx:pt>
          <cx:pt idx="9333">3</cx:pt>
          <cx:pt idx="9334">2</cx:pt>
          <cx:pt idx="9335">2</cx:pt>
          <cx:pt idx="9336">1</cx:pt>
          <cx:pt idx="9337">3</cx:pt>
          <cx:pt idx="9338">1</cx:pt>
          <cx:pt idx="9339">2</cx:pt>
          <cx:pt idx="9340">2</cx:pt>
          <cx:pt idx="9341">1</cx:pt>
          <cx:pt idx="9342">1</cx:pt>
          <cx:pt idx="9343">2</cx:pt>
          <cx:pt idx="9344">1</cx:pt>
          <cx:pt idx="9345">1</cx:pt>
          <cx:pt idx="9346">1</cx:pt>
          <cx:pt idx="9347">2</cx:pt>
          <cx:pt idx="9348">3</cx:pt>
          <cx:pt idx="9349">1</cx:pt>
          <cx:pt idx="9350">3</cx:pt>
          <cx:pt idx="9351">4</cx:pt>
          <cx:pt idx="9352">3</cx:pt>
          <cx:pt idx="9353">1</cx:pt>
          <cx:pt idx="9354">1</cx:pt>
          <cx:pt idx="9355">2</cx:pt>
          <cx:pt idx="9356">3</cx:pt>
          <cx:pt idx="9357">3</cx:pt>
          <cx:pt idx="9358">2</cx:pt>
          <cx:pt idx="9359">3</cx:pt>
          <cx:pt idx="9360">2</cx:pt>
          <cx:pt idx="9361">1</cx:pt>
          <cx:pt idx="9362">2</cx:pt>
          <cx:pt idx="9363">5</cx:pt>
          <cx:pt idx="9364">2</cx:pt>
          <cx:pt idx="9365">5</cx:pt>
          <cx:pt idx="9366">1</cx:pt>
          <cx:pt idx="9367">4</cx:pt>
          <cx:pt idx="9368">3</cx:pt>
          <cx:pt idx="9369">3</cx:pt>
          <cx:pt idx="9370">1</cx:pt>
          <cx:pt idx="9371">1</cx:pt>
          <cx:pt idx="9372">1</cx:pt>
          <cx:pt idx="9373">3</cx:pt>
          <cx:pt idx="9374">3</cx:pt>
          <cx:pt idx="9375">4</cx:pt>
          <cx:pt idx="9376">3</cx:pt>
          <cx:pt idx="9377">4</cx:pt>
          <cx:pt idx="9378">1</cx:pt>
          <cx:pt idx="9379">5</cx:pt>
          <cx:pt idx="9380">1</cx:pt>
          <cx:pt idx="9381">1</cx:pt>
          <cx:pt idx="9382">2</cx:pt>
          <cx:pt idx="9383">1</cx:pt>
          <cx:pt idx="9384">1</cx:pt>
          <cx:pt idx="9385">1</cx:pt>
          <cx:pt idx="9386">1</cx:pt>
          <cx:pt idx="9387">3</cx:pt>
          <cx:pt idx="9388">4</cx:pt>
          <cx:pt idx="9389">1</cx:pt>
          <cx:pt idx="9390">4</cx:pt>
          <cx:pt idx="9391">4</cx:pt>
          <cx:pt idx="9392">1</cx:pt>
          <cx:pt idx="9393">3</cx:pt>
          <cx:pt idx="9394">5</cx:pt>
          <cx:pt idx="9395">1</cx:pt>
          <cx:pt idx="9396">2</cx:pt>
          <cx:pt idx="9397">1</cx:pt>
          <cx:pt idx="9398">3</cx:pt>
          <cx:pt idx="9399">1</cx:pt>
          <cx:pt idx="9400">2</cx:pt>
          <cx:pt idx="9401">3</cx:pt>
          <cx:pt idx="9402">2</cx:pt>
          <cx:pt idx="9403">2</cx:pt>
          <cx:pt idx="9404">1</cx:pt>
          <cx:pt idx="9405">5</cx:pt>
          <cx:pt idx="9406">4</cx:pt>
          <cx:pt idx="9407">4</cx:pt>
          <cx:pt idx="9408">2</cx:pt>
          <cx:pt idx="9409">1</cx:pt>
          <cx:pt idx="9410">3</cx:pt>
          <cx:pt idx="9411">1</cx:pt>
          <cx:pt idx="9412">2</cx:pt>
          <cx:pt idx="9413">1</cx:pt>
          <cx:pt idx="9414">1</cx:pt>
          <cx:pt idx="9415">5</cx:pt>
          <cx:pt idx="9416">3</cx:pt>
          <cx:pt idx="9417">2</cx:pt>
          <cx:pt idx="9418">3</cx:pt>
          <cx:pt idx="9419">1</cx:pt>
          <cx:pt idx="9420">2</cx:pt>
          <cx:pt idx="9421">2</cx:pt>
          <cx:pt idx="9422">4</cx:pt>
          <cx:pt idx="9423">3</cx:pt>
          <cx:pt idx="9424">3</cx:pt>
          <cx:pt idx="9425">1</cx:pt>
          <cx:pt idx="9426">1</cx:pt>
          <cx:pt idx="9427">1</cx:pt>
          <cx:pt idx="9428">1</cx:pt>
          <cx:pt idx="9429">1</cx:pt>
          <cx:pt idx="9430">1</cx:pt>
          <cx:pt idx="9431">1</cx:pt>
          <cx:pt idx="9432">1</cx:pt>
          <cx:pt idx="9433">4</cx:pt>
          <cx:pt idx="9434">3</cx:pt>
          <cx:pt idx="9435">2</cx:pt>
          <cx:pt idx="9436">1</cx:pt>
          <cx:pt idx="9437">2</cx:pt>
          <cx:pt idx="9438">3</cx:pt>
          <cx:pt idx="9439">1</cx:pt>
          <cx:pt idx="9440">2</cx:pt>
          <cx:pt idx="9441">1</cx:pt>
          <cx:pt idx="9442">3</cx:pt>
          <cx:pt idx="9443">3</cx:pt>
          <cx:pt idx="9444">1</cx:pt>
          <cx:pt idx="9445">3</cx:pt>
          <cx:pt idx="9446">3</cx:pt>
          <cx:pt idx="9447">1</cx:pt>
          <cx:pt idx="9448">3</cx:pt>
          <cx:pt idx="9449">2</cx:pt>
          <cx:pt idx="9450">1</cx:pt>
          <cx:pt idx="9451">1</cx:pt>
          <cx:pt idx="9452">1</cx:pt>
          <cx:pt idx="9453">3</cx:pt>
          <cx:pt idx="9454">3</cx:pt>
          <cx:pt idx="9455">1</cx:pt>
          <cx:pt idx="9456">2</cx:pt>
          <cx:pt idx="9457">2</cx:pt>
          <cx:pt idx="9458">3</cx:pt>
          <cx:pt idx="9459">2</cx:pt>
          <cx:pt idx="9460">1</cx:pt>
          <cx:pt idx="9461">4</cx:pt>
          <cx:pt idx="9462">4</cx:pt>
          <cx:pt idx="9463">2</cx:pt>
          <cx:pt idx="9464">1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r>
              <a:rPr lang="de-DE" sz="1862" b="0" i="0" u="none" strike="noStrike" baseline="0" dirty="0" err="1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Boxsplot</a:t>
            </a:r>
            <a:r>
              <a:rPr lang="de-DE" sz="1862" b="0" i="0" u="none" strike="noStrike" baseline="0" dirty="0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 Artikel pro Einkauf</a:t>
            </a:r>
          </a:p>
        </cx:rich>
      </cx:tx>
    </cx:title>
    <cx:plotArea>
      <cx:plotAreaRegion>
        <cx:series layoutId="boxWhisker" uniqueId="{EB19FF71-A7E9-4DD0-9E1C-8B158F0A45E9}" formatIdx="0">
          <cx:tx>
            <cx:txData>
              <cx:f>Tabelle1!$B$1</cx:f>
              <cx:v>Artikel pro Einkauf</cx:v>
            </cx:txData>
          </cx:tx>
          <cx:dataId val="0"/>
          <cx:layoutPr>
            <cx:visibility meanLine="0" meanMarker="1" nonoutliers="0" outliers="1"/>
            <cx:statistics quartileMethod="exclusive"/>
          </cx:layoutPr>
        </cx:series>
      </cx:plotAreaRegion>
      <cx:axis id="0">
        <cx:catScaling gapWidth="1"/>
        <cx:tickLabels/>
      </cx:axis>
      <cx:axis id="1">
        <cx:valScaling min="1"/>
        <cx:majorGridlines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08703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291836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0380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82000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454627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536276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242559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13820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625737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830555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41896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3725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Wednesday, 1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Wednesday, 15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3/15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5/03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5.xml"/><Relationship Id="rId30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5" imgH="394" progId="TCLayout.ActiveDocument.1">
                  <p:embed/>
                </p:oleObj>
              </mc:Choice>
              <mc:Fallback>
                <p:oleObj name="think-cell Foli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notesSlide" Target="../notesSlides/notesSlide9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run.unl.pt/bitstream/10362/80955/1/TEGI0458.pdf" TargetMode="External"/><Relationship Id="rId3" Type="http://schemas.openxmlformats.org/officeDocument/2006/relationships/oleObject" Target="../embeddings/oleObject25.bin"/><Relationship Id="rId7" Type="http://schemas.openxmlformats.org/officeDocument/2006/relationships/hyperlink" Target="https://doi.org/10.1007/978-3-031-25847-3_13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6" Type="http://schemas.microsoft.com/office/2007/relationships/hdphoto" Target="../media/hdphoto2.wdp"/><Relationship Id="rId5" Type="http://schemas.openxmlformats.org/officeDocument/2006/relationships/image" Target="../media/image25.png"/><Relationship Id="rId10" Type="http://schemas.openxmlformats.org/officeDocument/2006/relationships/hyperlink" Target="https://www.researchgate.net/publication/322161863_Market_Basket_Analysis_to_Identify_Customer_Behaviours_by_Way_of_Transaction_Data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doi.org/10.1007/978-1-4899-7687-1_100284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2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33.svg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openxmlformats.org/officeDocument/2006/relationships/image" Target="../media/image32.png"/><Relationship Id="rId11" Type="http://schemas.openxmlformats.org/officeDocument/2006/relationships/image" Target="../media/image37.sv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1.emf"/><Relationship Id="rId9" Type="http://schemas.openxmlformats.org/officeDocument/2006/relationships/image" Target="../media/image35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5" Type="http://schemas.openxmlformats.org/officeDocument/2006/relationships/image" Target="../media/image44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20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6" Type="http://schemas.microsoft.com/office/2014/relationships/chartEx" Target="../charts/chartEx1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svg"/><Relationship Id="rId7" Type="http://schemas.openxmlformats.org/officeDocument/2006/relationships/image" Target="../media/image51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Relationship Id="rId9" Type="http://schemas.openxmlformats.org/officeDocument/2006/relationships/image" Target="../media/image53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5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5" Type="http://schemas.openxmlformats.org/officeDocument/2006/relationships/image" Target="../media/image55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3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6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6" Type="http://schemas.openxmlformats.org/officeDocument/2006/relationships/image" Target="../media/image65.png"/><Relationship Id="rId5" Type="http://schemas.openxmlformats.org/officeDocument/2006/relationships/image" Target="../media/image64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35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9.xml"/><Relationship Id="rId6" Type="http://schemas.microsoft.com/office/2007/relationships/hdphoto" Target="../media/hdphoto1.wdp"/><Relationship Id="rId5" Type="http://schemas.openxmlformats.org/officeDocument/2006/relationships/image" Target="../media/image16.png"/><Relationship Id="rId10" Type="http://schemas.openxmlformats.org/officeDocument/2006/relationships/image" Target="../media/image20.sv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0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slide" Target="slide66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64.xml"/><Relationship Id="rId12" Type="http://schemas.openxmlformats.org/officeDocument/2006/relationships/slide" Target="slide7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65.xml"/><Relationship Id="rId11" Type="http://schemas.openxmlformats.org/officeDocument/2006/relationships/slide" Target="slide69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68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6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16.png"/><Relationship Id="rId11" Type="http://schemas.openxmlformats.org/officeDocument/2006/relationships/image" Target="../media/image20.svg"/><Relationship Id="rId5" Type="http://schemas.openxmlformats.org/officeDocument/2006/relationships/image" Target="../media/image1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8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0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3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16.png"/><Relationship Id="rId11" Type="http://schemas.openxmlformats.org/officeDocument/2006/relationships/image" Target="../media/image20.svg"/><Relationship Id="rId5" Type="http://schemas.openxmlformats.org/officeDocument/2006/relationships/image" Target="../media/image1.emf"/><Relationship Id="rId15" Type="http://schemas.openxmlformats.org/officeDocument/2006/relationships/image" Target="../media/image24.sv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1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6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fonts.google.com/specimen/Maven+Pro?query=mave" TargetMode="Externa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image" Target="../media/image16.png"/><Relationship Id="rId11" Type="http://schemas.openxmlformats.org/officeDocument/2006/relationships/image" Target="../media/image20.svg"/><Relationship Id="rId5" Type="http://schemas.openxmlformats.org/officeDocument/2006/relationships/image" Target="../media/image1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8.sv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ssoziationsanalyse einer Bäckerei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87798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r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Predictive </a:t>
              </a: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r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r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74886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Alcan, D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demi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K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k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B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Muc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A.Y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c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T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23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.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A Comparative Analysis of </a:t>
            </a: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Apriori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and FP-Growth Algorithms for Market Basket Analysis Using Multi-level Association Rule Mining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: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Calisi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F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Durucu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M. (eds) Industrial Engineering in the Covid-19 Era. GJCIE 2022. Lecture Notes in Management and Industrial Engineering. Springer, Cham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doi.org/10.1007/978-3-031-25847-3_13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Ansari, S. Y. </a:t>
            </a:r>
            <a:r>
              <a:rPr lang="de-DE" sz="1000" b="1" dirty="0">
                <a:solidFill>
                  <a:srgbClr val="00CFCC"/>
                </a:solidFill>
                <a:latin typeface="Maven Pro" panose="020B0604020202020204" charset="0"/>
              </a:rPr>
              <a:t>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19).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arket Basket Analysis Trend Analysis of Association rules in different time periods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NOVA IM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Sammut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C., Webb, G.I. (eds)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1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Encyclopedia of Machine Learning and Data Mining: 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Springer, Boston, MA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doi.org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Kurniawan, F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Umayah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B. Hammad, J. Nugroho,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Hariadi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M. 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(2017)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arket Basket Analysis to Identify Customer Behaviors  by Way of Transaction Dat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CC BY-S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9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: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Agrawal, R., &amp; Srikant, R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9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: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.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MacQueen, B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6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: </a:t>
            </a: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271142" cy="577800"/>
          </a:xfrm>
        </p:spPr>
        <p:txBody>
          <a:bodyPr vert="horz"/>
          <a:lstStyle/>
          <a:p>
            <a:r>
              <a:rPr lang="de-DE" dirty="0"/>
              <a:t>Domain Exploration – </a:t>
            </a:r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2915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847D0AF8-9ADF-6C7E-DC73-E227A300C7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584" y="416755"/>
            <a:ext cx="8005843" cy="577800"/>
          </a:xfrm>
        </p:spPr>
        <p:txBody>
          <a:bodyPr/>
          <a:lstStyle/>
          <a:p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Frequent Pattern Mining </a:t>
            </a:r>
            <a:r>
              <a:rPr lang="de-DE" dirty="0" err="1"/>
              <a:t>Algorithms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D3A4102F-610E-9ED4-E80F-9C6B3A85590B}"/>
              </a:ext>
            </a:extLst>
          </p:cNvPr>
          <p:cNvGraphicFramePr>
            <a:graphicFrameLocks noGrp="1"/>
          </p:cNvGraphicFramePr>
          <p:nvPr/>
        </p:nvGraphicFramePr>
        <p:xfrm>
          <a:off x="707628" y="907764"/>
          <a:ext cx="8005844" cy="374904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1072364">
                  <a:extLst>
                    <a:ext uri="{9D8B030D-6E8A-4147-A177-3AD203B41FA5}">
                      <a16:colId xmlns:a16="http://schemas.microsoft.com/office/drawing/2014/main" val="3371099145"/>
                    </a:ext>
                  </a:extLst>
                </a:gridCol>
                <a:gridCol w="2167983">
                  <a:extLst>
                    <a:ext uri="{9D8B030D-6E8A-4147-A177-3AD203B41FA5}">
                      <a16:colId xmlns:a16="http://schemas.microsoft.com/office/drawing/2014/main" val="4137587088"/>
                    </a:ext>
                  </a:extLst>
                </a:gridCol>
                <a:gridCol w="1588499">
                  <a:extLst>
                    <a:ext uri="{9D8B030D-6E8A-4147-A177-3AD203B41FA5}">
                      <a16:colId xmlns:a16="http://schemas.microsoft.com/office/drawing/2014/main" val="1876825437"/>
                    </a:ext>
                  </a:extLst>
                </a:gridCol>
                <a:gridCol w="1687286">
                  <a:extLst>
                    <a:ext uri="{9D8B030D-6E8A-4147-A177-3AD203B41FA5}">
                      <a16:colId xmlns:a16="http://schemas.microsoft.com/office/drawing/2014/main" val="3692932486"/>
                    </a:ext>
                  </a:extLst>
                </a:gridCol>
                <a:gridCol w="1489712">
                  <a:extLst>
                    <a:ext uri="{9D8B030D-6E8A-4147-A177-3AD203B41FA5}">
                      <a16:colId xmlns:a16="http://schemas.microsoft.com/office/drawing/2014/main" val="1575056618"/>
                    </a:ext>
                  </a:extLst>
                </a:gridCol>
              </a:tblGrid>
              <a:tr h="174276">
                <a:tc>
                  <a:txBody>
                    <a:bodyPr/>
                    <a:lstStyle/>
                    <a:p>
                      <a:pPr algn="r"/>
                      <a:endParaRPr lang="de-DE" sz="8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2800"/>
                        <a:buFont typeface="Share Tech"/>
                        <a:buNone/>
                      </a:pPr>
                      <a:r>
                        <a:rPr lang="de-DE" sz="900" b="0" i="0" u="none" strike="noStrike" cap="none" dirty="0">
                          <a:solidFill>
                            <a:schemeClr val="accent1"/>
                          </a:solidFill>
                          <a:latin typeface="Share Tech"/>
                          <a:sym typeface="Share Tech"/>
                        </a:rPr>
                        <a:t>FP-Growth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900" b="0" i="0" u="none" strike="noStrike" cap="none" dirty="0">
                          <a:solidFill>
                            <a:srgbClr val="00CFCC"/>
                          </a:solidFill>
                          <a:latin typeface="Share Tech"/>
                          <a:cs typeface="Arial"/>
                          <a:sym typeface="Arial"/>
                        </a:rPr>
                        <a:t>Apriori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900" b="0" i="0" u="none" strike="noStrike" cap="none" dirty="0" err="1">
                          <a:solidFill>
                            <a:srgbClr val="5EFFFD"/>
                          </a:solidFill>
                          <a:latin typeface="Share Tech"/>
                          <a:cs typeface="Arial"/>
                          <a:sym typeface="Arial"/>
                        </a:rPr>
                        <a:t>Predictive</a:t>
                      </a:r>
                      <a:r>
                        <a:rPr lang="de-DE" sz="900" b="0" i="0" u="none" strike="noStrike" cap="none" dirty="0">
                          <a:solidFill>
                            <a:srgbClr val="5EFFFD"/>
                          </a:solidFill>
                          <a:latin typeface="Share Tech"/>
                          <a:cs typeface="Arial"/>
                          <a:sym typeface="Arial"/>
                        </a:rPr>
                        <a:t> Apriori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900" b="0" i="0" u="none" strike="noStrike" cap="none" dirty="0">
                          <a:solidFill>
                            <a:srgbClr val="FF9973"/>
                          </a:solidFill>
                          <a:latin typeface="Share Tech"/>
                          <a:cs typeface="Arial"/>
                          <a:sym typeface="Arial"/>
                        </a:rPr>
                        <a:t>ASPMS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6429192"/>
                  </a:ext>
                </a:extLst>
              </a:tr>
              <a:tr h="456954">
                <a:tc>
                  <a:txBody>
                    <a:bodyPr/>
                    <a:lstStyle/>
                    <a:p>
                      <a:pPr algn="r"/>
                      <a:r>
                        <a:rPr lang="de-DE" sz="900" b="1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Usage</a:t>
                      </a:r>
                      <a:endParaRPr lang="de-DE" sz="900" b="1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Association rule mining algorithms, which means they look for patterns or relationships between different attributes in a databas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8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Extension of the classical </a:t>
                      </a:r>
                      <a:r>
                        <a:rPr lang="en-US" sz="70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 algorithm, which additionally implements a prediction function to predict future data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Two phases: Association pattern mining phase and sequence pattern mining phas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65555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1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Technique</a:t>
                      </a:r>
                      <a:endParaRPr lang="de-DE" sz="900" b="1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Divide an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onquer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using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Frequent Pattern Tree (FP-Tree), which allows to reduce the number of candidates to be searched in the database</a:t>
                      </a:r>
                    </a:p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Breadth first search &amp; </a:t>
                      </a:r>
                      <a:r>
                        <a:rPr lang="en-US" sz="70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 property (for Pruning): Creation of candidate sets of attribute combinations and subsequent searching of the database for these candidates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Uses historical data to train a model that allows it to make predictions about which attribute combinations will occur frequently in the future. This predictive function can be used to make future decision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BSM(Branch Sort Method) using merge sort</a:t>
                      </a:r>
                    </a:p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7873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1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atabase Scan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Database is scanned two times only</a:t>
                      </a:r>
                    </a:p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Database is scanned for each time a candidate item set is generated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Database is scanned for each time a candidate item set is generated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+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raining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a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model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with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istorical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ata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Database is scanned only One time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1790751"/>
                  </a:ext>
                </a:extLst>
              </a:tr>
              <a:tr h="128556">
                <a:tc>
                  <a:txBody>
                    <a:bodyPr/>
                    <a:lstStyle/>
                    <a:p>
                      <a:pPr algn="r"/>
                      <a:r>
                        <a:rPr lang="de-DE" sz="900" b="1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Execution</a:t>
                      </a:r>
                      <a:r>
                        <a:rPr lang="de-DE" sz="900" b="1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 Time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Less time as compared to </a:t>
                      </a:r>
                      <a:r>
                        <a:rPr lang="en-US" sz="70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 algorithm</a:t>
                      </a:r>
                    </a:p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Slower than FP-Growth as time is consumed in scanning database for each candidate item set generation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Longest execution tim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Fastest in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his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omparison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0342241"/>
                  </a:ext>
                </a:extLst>
              </a:tr>
              <a:tr h="204756">
                <a:tc>
                  <a:txBody>
                    <a:bodyPr/>
                    <a:lstStyle/>
                    <a:p>
                      <a:pPr algn="r"/>
                      <a:r>
                        <a:rPr lang="de-DE" sz="900" b="1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rawback</a:t>
                      </a:r>
                      <a:endParaRPr lang="de-DE" sz="900" b="1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FP-Tree is expensive to build and consumes more memory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Too many Candidate Itemset. Too many passes over database. Requires large memory spac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Slow, </a:t>
                      </a:r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Presence of outliers or unexpected patterns in the historical data affect the predictive ability of the model and lead to inaccurate prediction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Strongly increasing resource requirements with increasing data volum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90653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1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Advantage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Database is scanned only two times. No candidate generation</a:t>
                      </a:r>
                    </a:p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Use large itemset property. Easy to Implement</a:t>
                      </a:r>
                    </a:p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  <a:p>
                      <a:endParaRPr lang="en-US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Predict future data and make decisions on this basis. Can improve the business result.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Highly suitable for interactive mining. It requires less memory because of its compression feature in ASPs tree.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2197609"/>
                  </a:ext>
                </a:extLst>
              </a:tr>
              <a:tr h="265777">
                <a:tc>
                  <a:txBody>
                    <a:bodyPr/>
                    <a:lstStyle/>
                    <a:p>
                      <a:pPr algn="r"/>
                      <a:r>
                        <a:rPr lang="de-DE" sz="900" b="1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orage </a:t>
                      </a:r>
                      <a:r>
                        <a:rPr lang="de-DE" sz="900" b="1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ructure</a:t>
                      </a:r>
                      <a:endParaRPr lang="de-DE" sz="900" b="1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rray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FP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FP Tree structure with </a:t>
                      </a:r>
                      <a:r>
                        <a:rPr lang="en-US" sz="700" dirty="0" err="1">
                          <a:solidFill>
                            <a:schemeClr val="bg1"/>
                          </a:solidFill>
                        </a:rPr>
                        <a:t>itemsets</a:t>
                      </a:r>
                      <a:r>
                        <a:rPr lang="en-US" sz="700" dirty="0">
                          <a:solidFill>
                            <a:schemeClr val="bg1"/>
                          </a:solidFill>
                        </a:rPr>
                        <a:t> that exceed a certain support threshol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SP Miner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3695601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07D03EE6-E647-5D1C-1F02-32FFD8C199AC}"/>
              </a:ext>
            </a:extLst>
          </p:cNvPr>
          <p:cNvSpPr txBox="1"/>
          <p:nvPr/>
        </p:nvSpPr>
        <p:spPr>
          <a:xfrm>
            <a:off x="806688" y="4937821"/>
            <a:ext cx="85242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i="1" dirty="0">
                <a:solidFill>
                  <a:schemeClr val="bg1"/>
                </a:solidFill>
              </a:rPr>
              <a:t>Source: Frequent Pattern Mining </a:t>
            </a:r>
            <a:r>
              <a:rPr lang="de-DE" sz="700" i="1" dirty="0" err="1">
                <a:solidFill>
                  <a:schemeClr val="bg1"/>
                </a:solidFill>
              </a:rPr>
              <a:t>Algorithms</a:t>
            </a:r>
            <a:r>
              <a:rPr lang="de-DE" sz="700" i="1" dirty="0">
                <a:solidFill>
                  <a:schemeClr val="bg1"/>
                </a:solidFill>
              </a:rPr>
              <a:t> </a:t>
            </a:r>
            <a:r>
              <a:rPr lang="de-DE" sz="700" i="1" dirty="0" err="1">
                <a:solidFill>
                  <a:schemeClr val="bg1"/>
                </a:solidFill>
              </a:rPr>
              <a:t>for</a:t>
            </a:r>
            <a:r>
              <a:rPr lang="de-DE" sz="700" i="1" dirty="0">
                <a:solidFill>
                  <a:schemeClr val="bg1"/>
                </a:solidFill>
              </a:rPr>
              <a:t> </a:t>
            </a:r>
            <a:r>
              <a:rPr lang="de-DE" sz="700" i="1" dirty="0" err="1">
                <a:solidFill>
                  <a:schemeClr val="bg1"/>
                </a:solidFill>
              </a:rPr>
              <a:t>Finding</a:t>
            </a:r>
            <a:r>
              <a:rPr lang="de-DE" sz="700" i="1" dirty="0">
                <a:solidFill>
                  <a:schemeClr val="bg1"/>
                </a:solidFill>
              </a:rPr>
              <a:t> Associated Frequent Patterns </a:t>
            </a:r>
            <a:r>
              <a:rPr lang="de-DE" sz="700" i="1" dirty="0" err="1">
                <a:solidFill>
                  <a:schemeClr val="bg1"/>
                </a:solidFill>
              </a:rPr>
              <a:t>for</a:t>
            </a:r>
            <a:r>
              <a:rPr lang="de-DE" sz="700" i="1" dirty="0">
                <a:solidFill>
                  <a:schemeClr val="bg1"/>
                </a:solidFill>
              </a:rPr>
              <a:t> Data Streams: A Survey; S. Nasreen, M. Azam, K. </a:t>
            </a:r>
            <a:r>
              <a:rPr lang="de-DE" sz="700" i="1" dirty="0" err="1">
                <a:solidFill>
                  <a:schemeClr val="bg1"/>
                </a:solidFill>
              </a:rPr>
              <a:t>Shezhad</a:t>
            </a:r>
            <a:r>
              <a:rPr lang="de-DE" sz="700" i="1" dirty="0">
                <a:solidFill>
                  <a:schemeClr val="bg1"/>
                </a:solidFill>
              </a:rPr>
              <a:t>, U. Naeem, M. </a:t>
            </a:r>
            <a:r>
              <a:rPr lang="de-DE" sz="700" i="1" dirty="0" err="1">
                <a:solidFill>
                  <a:schemeClr val="bg1"/>
                </a:solidFill>
              </a:rPr>
              <a:t>Ghazanfar</a:t>
            </a:r>
            <a:r>
              <a:rPr lang="de-DE" sz="700" i="1" dirty="0">
                <a:solidFill>
                  <a:schemeClr val="bg1"/>
                </a:solidFill>
              </a:rPr>
              <a:t>; 2014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9EA09C7-D07E-1D7C-E43B-B8288C07F26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rcRect b="2837"/>
          <a:stretch/>
        </p:blipFill>
        <p:spPr>
          <a:xfrm>
            <a:off x="76537" y="1014306"/>
            <a:ext cx="631093" cy="663927"/>
          </a:xfrm>
          <a:prstGeom prst="rect">
            <a:avLst/>
          </a:prstGeom>
        </p:spPr>
      </p:pic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4CAFC7DF-49F3-D229-17B7-D92EBA9BAB8A}"/>
              </a:ext>
            </a:extLst>
          </p:cNvPr>
          <p:cNvSpPr/>
          <p:nvPr/>
        </p:nvSpPr>
        <p:spPr>
          <a:xfrm>
            <a:off x="710705" y="1346269"/>
            <a:ext cx="356096" cy="94118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5559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702975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- </a:t>
            </a: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29" y="411675"/>
            <a:ext cx="6836445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– Dataset </a:t>
            </a:r>
            <a:r>
              <a:rPr lang="de-DE" dirty="0" err="1"/>
              <a:t>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servations</a:t>
            </a:r>
            <a:endParaRPr dirty="0"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aN Values</a:t>
            </a:r>
            <a:endParaRPr dirty="0"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5952855" y="3271106"/>
            <a:ext cx="2084699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mportieren von Wetterdaten anhand der Geolocation &amp; Feiertagskalenderdaten</a:t>
            </a:r>
            <a:endParaRPr dirty="0"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ttributes</a:t>
            </a:r>
            <a:endParaRPr dirty="0"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5 Attribute: </a:t>
            </a:r>
            <a:r>
              <a:rPr lang="de-DE" dirty="0" err="1"/>
              <a:t>TransactionNo</a:t>
            </a:r>
            <a:r>
              <a:rPr lang="de-DE" dirty="0"/>
              <a:t>, Items, </a:t>
            </a:r>
            <a:r>
              <a:rPr lang="de-DE" dirty="0" err="1"/>
              <a:t>DateTime</a:t>
            </a:r>
            <a:r>
              <a:rPr lang="de-DE" dirty="0"/>
              <a:t>, </a:t>
            </a:r>
            <a:r>
              <a:rPr lang="de-DE" dirty="0" err="1"/>
              <a:t>Daypart</a:t>
            </a:r>
            <a:r>
              <a:rPr lang="de-DE" dirty="0"/>
              <a:t>, </a:t>
            </a:r>
            <a:r>
              <a:rPr lang="de-DE" dirty="0" err="1"/>
              <a:t>DayType</a:t>
            </a:r>
            <a:endParaRPr dirty="0"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Über 9.000 Transaktionen</a:t>
            </a:r>
            <a:endParaRPr dirty="0"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Keine unvollständigen Observationen</a:t>
            </a:r>
            <a:endParaRPr dirty="0"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</a:t>
            </a:r>
            <a:r>
              <a:rPr lang="en" baseline="30000" dirty="0"/>
              <a:t>nd</a:t>
            </a:r>
            <a:r>
              <a:rPr lang="en" dirty="0"/>
              <a:t> &amp; 3</a:t>
            </a:r>
            <a:r>
              <a:rPr lang="en" baseline="30000" dirty="0"/>
              <a:t>rd</a:t>
            </a:r>
            <a:r>
              <a:rPr lang="en" dirty="0"/>
              <a:t> Dataset</a:t>
            </a:r>
            <a:endParaRPr dirty="0"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cxnSpLocks/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B588B2-0034-86B0-4586-E2C7D2124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7956" y="1816430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EC1D109-99C1-EB32-9DF2-3B9D78DF6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51730" y="1836131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998A6EE-0E37-1A38-37ED-36B669F14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47992" y="3066720"/>
            <a:ext cx="1427744" cy="7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>
            <a:extLst>
              <a:ext uri="{FF2B5EF4-FFF2-40B4-BE49-F238E27FC236}">
                <a16:creationId xmlns:a16="http://schemas.microsoft.com/office/drawing/2014/main" id="{764545FF-3760-FD61-DB8F-6D7E46079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47344" y="3271106"/>
            <a:ext cx="451161" cy="38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4552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1" name="Picture 2" descr="The Bread Basket | Kaggle">
            <a:extLst>
              <a:ext uri="{FF2B5EF4-FFF2-40B4-BE49-F238E27FC236}">
                <a16:creationId xmlns:a16="http://schemas.microsoft.com/office/drawing/2014/main" id="{406F0980-4EE9-3681-71F4-A59818A619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9"/>
          <a:stretch/>
        </p:blipFill>
        <p:spPr bwMode="auto">
          <a:xfrm>
            <a:off x="751444" y="1545499"/>
            <a:ext cx="3294776" cy="2967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29" y="411675"/>
            <a:ext cx="6836445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–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verview</a:t>
            </a:r>
            <a:endParaRPr sz="3000" dirty="0"/>
          </a:p>
        </p:txBody>
      </p:sp>
      <p:sp>
        <p:nvSpPr>
          <p:cNvPr id="12" name="Parallelogramm 11">
            <a:extLst>
              <a:ext uri="{FF2B5EF4-FFF2-40B4-BE49-F238E27FC236}">
                <a16:creationId xmlns:a16="http://schemas.microsoft.com/office/drawing/2014/main" id="{F860FE54-9E52-F5CA-CEAC-DA756FBC32FE}"/>
              </a:ext>
            </a:extLst>
          </p:cNvPr>
          <p:cNvSpPr/>
          <p:nvPr/>
        </p:nvSpPr>
        <p:spPr>
          <a:xfrm>
            <a:off x="4696349" y="1376856"/>
            <a:ext cx="4154758" cy="169932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Products</a:t>
            </a:r>
          </a:p>
        </p:txBody>
      </p:sp>
      <p:sp>
        <p:nvSpPr>
          <p:cNvPr id="13" name="Parallelogramm 12">
            <a:extLst>
              <a:ext uri="{FF2B5EF4-FFF2-40B4-BE49-F238E27FC236}">
                <a16:creationId xmlns:a16="http://schemas.microsoft.com/office/drawing/2014/main" id="{08A11F24-7E9B-ECD0-495B-B3CF0AF0967C}"/>
              </a:ext>
            </a:extLst>
          </p:cNvPr>
          <p:cNvSpPr/>
          <p:nvPr/>
        </p:nvSpPr>
        <p:spPr>
          <a:xfrm>
            <a:off x="752475" y="1377568"/>
            <a:ext cx="3333750" cy="169220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The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read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Basket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in Edinburgh</a:t>
            </a:r>
          </a:p>
        </p:txBody>
      </p:sp>
      <p:graphicFrame>
        <p:nvGraphicFramePr>
          <p:cNvPr id="1072" name="Tabelle 1071">
            <a:extLst>
              <a:ext uri="{FF2B5EF4-FFF2-40B4-BE49-F238E27FC236}">
                <a16:creationId xmlns:a16="http://schemas.microsoft.com/office/drawing/2014/main" id="{47360AC6-5E3B-CC54-6DD9-564D621ECC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619647"/>
              </p:ext>
            </p:extLst>
          </p:nvPr>
        </p:nvGraphicFramePr>
        <p:xfrm>
          <a:off x="4696348" y="1545498"/>
          <a:ext cx="4097130" cy="2978567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682855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3440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Cold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rink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rink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Pla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Savour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Swe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Oth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400631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ff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guet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c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lfajore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fternoo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with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k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75180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u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re Popco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owl Nic Pi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kewell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rgentina Nig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8633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ineral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wa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T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rioche an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alami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Pud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rt Tr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436254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y-5 Fruit Sho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Noma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g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hicken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an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row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sk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589052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Smooth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Raw B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hicken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tew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a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Gif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vouch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736865"/>
                  </a:ext>
                </a:extLst>
              </a:tr>
              <a:tr h="436254"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.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8193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92853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042542" cy="577800"/>
          </a:xfrm>
        </p:spPr>
        <p:txBody>
          <a:bodyPr vert="horz"/>
          <a:lstStyle/>
          <a:p>
            <a:r>
              <a:rPr lang="de-DE" dirty="0"/>
              <a:t>Domain Exploration – Combine Datasets (1/2)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/>
        </p:nvGraphicFramePr>
        <p:xfrm>
          <a:off x="753292" y="1191461"/>
          <a:ext cx="3095586" cy="214884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5707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63373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749553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#Trans-actionN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Item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teTim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part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Typ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09:58: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ok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332745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7:57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/>
        </p:nvGraphicFramePr>
        <p:xfrm>
          <a:off x="5343784" y="1184638"/>
          <a:ext cx="3039337" cy="1221636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34191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236369"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year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month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tmax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tmin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af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Rain m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sun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hour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6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7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81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7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8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41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4116450" y="1459904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4A59130D-F487-8A5A-AD09-04838E848CD8}"/>
              </a:ext>
            </a:extLst>
          </p:cNvPr>
          <p:cNvSpPr/>
          <p:nvPr/>
        </p:nvSpPr>
        <p:spPr>
          <a:xfrm>
            <a:off x="753292" y="1063525"/>
            <a:ext cx="3141997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B777913C-FD29-1FC1-12EB-5A0C288DEFB8}"/>
              </a:ext>
            </a:extLst>
          </p:cNvPr>
          <p:cNvSpPr/>
          <p:nvPr/>
        </p:nvSpPr>
        <p:spPr>
          <a:xfrm>
            <a:off x="5343785" y="1063525"/>
            <a:ext cx="3070418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Weather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983A3E9-AB73-B6C7-A679-3BD4F186B748}"/>
              </a:ext>
            </a:extLst>
          </p:cNvPr>
          <p:cNvGrpSpPr/>
          <p:nvPr/>
        </p:nvGrpSpPr>
        <p:grpSpPr>
          <a:xfrm>
            <a:off x="5343783" y="2658518"/>
            <a:ext cx="1895205" cy="2323511"/>
            <a:chOff x="4123667" y="957522"/>
            <a:chExt cx="1818782" cy="2229816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5BBB81F-DCCF-7C1B-32E0-107BDA192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23667" y="1191458"/>
              <a:ext cx="1644446" cy="1995880"/>
            </a:xfrm>
            <a:prstGeom prst="rect">
              <a:avLst/>
            </a:prstGeom>
          </p:spPr>
        </p:pic>
        <p:pic>
          <p:nvPicPr>
            <p:cNvPr id="7" name="Grafik 6" descr="Markierung mit einfarbiger Füllung">
              <a:extLst>
                <a:ext uri="{FF2B5EF4-FFF2-40B4-BE49-F238E27FC236}">
                  <a16:creationId xmlns:a16="http://schemas.microsoft.com/office/drawing/2014/main" id="{85AC88FA-C36D-7BA0-AAB3-774646230B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77247" y="2017172"/>
              <a:ext cx="229661" cy="229661"/>
            </a:xfrm>
            <a:prstGeom prst="rect">
              <a:avLst/>
            </a:prstGeom>
          </p:spPr>
        </p:pic>
        <p:sp>
          <p:nvSpPr>
            <p:cNvPr id="11" name="Sprechblase: rechteckig 10">
              <a:extLst>
                <a:ext uri="{FF2B5EF4-FFF2-40B4-BE49-F238E27FC236}">
                  <a16:creationId xmlns:a16="http://schemas.microsoft.com/office/drawing/2014/main" id="{9E3EBFA7-FFEE-A4C8-4249-3D39D104A2D4}"/>
                </a:ext>
              </a:extLst>
            </p:cNvPr>
            <p:cNvSpPr/>
            <p:nvPr/>
          </p:nvSpPr>
          <p:spPr>
            <a:xfrm>
              <a:off x="5006907" y="2017172"/>
              <a:ext cx="560097" cy="286807"/>
            </a:xfrm>
            <a:prstGeom prst="wedgeRectCallout">
              <a:avLst>
                <a:gd name="adj1" fmla="val -61634"/>
                <a:gd name="adj2" fmla="val -13991"/>
              </a:avLst>
            </a:prstGeom>
            <a:solidFill>
              <a:srgbClr val="2A2A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600" dirty="0" err="1">
                  <a:solidFill>
                    <a:schemeClr val="bg1"/>
                  </a:solidFill>
                </a:rPr>
                <a:t>Bakery</a:t>
              </a:r>
              <a:r>
                <a:rPr lang="de-DE" sz="600" dirty="0">
                  <a:solidFill>
                    <a:schemeClr val="bg1"/>
                  </a:solidFill>
                </a:rPr>
                <a:t> Edinburgh</a:t>
              </a:r>
            </a:p>
          </p:txBody>
        </p:sp>
        <p:sp>
          <p:nvSpPr>
            <p:cNvPr id="17" name="Pfeil: eingekerbt nach rechts 16">
              <a:extLst>
                <a:ext uri="{FF2B5EF4-FFF2-40B4-BE49-F238E27FC236}">
                  <a16:creationId xmlns:a16="http://schemas.microsoft.com/office/drawing/2014/main" id="{D3A889B5-701D-2F06-D04F-C10B1CE12871}"/>
                </a:ext>
              </a:extLst>
            </p:cNvPr>
            <p:cNvSpPr/>
            <p:nvPr/>
          </p:nvSpPr>
          <p:spPr>
            <a:xfrm rot="19473403">
              <a:off x="5009470" y="957522"/>
              <a:ext cx="932979" cy="306977"/>
            </a:xfrm>
            <a:prstGeom prst="notchedRightArrow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6" name="Grafik 5" descr="Regen Silhouette">
            <a:extLst>
              <a:ext uri="{FF2B5EF4-FFF2-40B4-BE49-F238E27FC236}">
                <a16:creationId xmlns:a16="http://schemas.microsoft.com/office/drawing/2014/main" id="{AC84421B-E036-8E9C-30EA-7E2262B3EE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14011" y="2780059"/>
            <a:ext cx="914400" cy="914400"/>
          </a:xfrm>
          <a:prstGeom prst="rect">
            <a:avLst/>
          </a:prstGeom>
        </p:spPr>
      </p:pic>
      <p:pic>
        <p:nvPicPr>
          <p:cNvPr id="20" name="Grafik 19" descr="Sonne Silhouette">
            <a:extLst>
              <a:ext uri="{FF2B5EF4-FFF2-40B4-BE49-F238E27FC236}">
                <a16:creationId xmlns:a16="http://schemas.microsoft.com/office/drawing/2014/main" id="{F444EE2E-3627-407F-0FF2-24A077C2DE8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84841" y="4113591"/>
            <a:ext cx="914400" cy="914400"/>
          </a:xfrm>
          <a:prstGeom prst="rect">
            <a:avLst/>
          </a:prstGeom>
        </p:spPr>
      </p:pic>
      <p:pic>
        <p:nvPicPr>
          <p:cNvPr id="22" name="Grafik 21" descr="Thermometer Silhouette">
            <a:extLst>
              <a:ext uri="{FF2B5EF4-FFF2-40B4-BE49-F238E27FC236}">
                <a16:creationId xmlns:a16="http://schemas.microsoft.com/office/drawing/2014/main" id="{F4656A06-DC3B-5523-4EC5-30EE6477778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32392" y="332604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2347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042542" cy="577800"/>
          </a:xfrm>
        </p:spPr>
        <p:txBody>
          <a:bodyPr vert="horz"/>
          <a:lstStyle/>
          <a:p>
            <a:r>
              <a:rPr lang="de-DE" dirty="0"/>
              <a:t>Domain Exploration – Combine Datasets (2/2)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/>
        </p:nvGraphicFramePr>
        <p:xfrm>
          <a:off x="753292" y="1191461"/>
          <a:ext cx="3095586" cy="214884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5707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63373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749553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#Trans-actionN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Item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teTim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part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Typ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09:58: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ok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332745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7:57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/>
        </p:nvGraphicFramePr>
        <p:xfrm>
          <a:off x="5343784" y="1184638"/>
          <a:ext cx="3168554" cy="152400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6520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352698">
                  <a:extLst>
                    <a:ext uri="{9D8B030D-6E8A-4147-A177-3AD203B41FA5}">
                      <a16:colId xmlns:a16="http://schemas.microsoft.com/office/drawing/2014/main" val="672172236"/>
                    </a:ext>
                  </a:extLst>
                </a:gridCol>
                <a:gridCol w="59679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330670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31075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805252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8079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da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public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w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las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lass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scription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8079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4.01.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New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Year´s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Official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13519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53597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0.11.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Sain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ndrew's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legally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n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recognized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13519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4116450" y="1459904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4A59130D-F487-8A5A-AD09-04838E848CD8}"/>
              </a:ext>
            </a:extLst>
          </p:cNvPr>
          <p:cNvSpPr/>
          <p:nvPr/>
        </p:nvSpPr>
        <p:spPr>
          <a:xfrm>
            <a:off x="753292" y="1063525"/>
            <a:ext cx="3141997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B777913C-FD29-1FC1-12EB-5A0C288DEFB8}"/>
              </a:ext>
            </a:extLst>
          </p:cNvPr>
          <p:cNvSpPr/>
          <p:nvPr/>
        </p:nvSpPr>
        <p:spPr>
          <a:xfrm>
            <a:off x="5343785" y="1063525"/>
            <a:ext cx="3202840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Events and Holidays Data Set</a:t>
            </a:r>
          </a:p>
        </p:txBody>
      </p:sp>
      <p:pic>
        <p:nvPicPr>
          <p:cNvPr id="6" name="Grafik 5" descr="Tageskalender Silhouette">
            <a:extLst>
              <a:ext uri="{FF2B5EF4-FFF2-40B4-BE49-F238E27FC236}">
                <a16:creationId xmlns:a16="http://schemas.microsoft.com/office/drawing/2014/main" id="{AF301435-9912-9DE5-D73B-3D8DD3C785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13661" y="2883101"/>
            <a:ext cx="914400" cy="914400"/>
          </a:xfrm>
          <a:prstGeom prst="rect">
            <a:avLst/>
          </a:prstGeom>
        </p:spPr>
      </p:pic>
      <p:pic>
        <p:nvPicPr>
          <p:cNvPr id="11" name="Grafik 10" descr="Konfettiball Silhouette">
            <a:extLst>
              <a:ext uri="{FF2B5EF4-FFF2-40B4-BE49-F238E27FC236}">
                <a16:creationId xmlns:a16="http://schemas.microsoft.com/office/drawing/2014/main" id="{06681C98-939D-B49C-1D67-963EA3752E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38968" y="288310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6572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Data Explo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FF9973"/>
                </a:solidFill>
              </a:rPr>
              <a:t>02</a:t>
            </a:r>
            <a:endParaRPr sz="2800" dirty="0">
              <a:solidFill>
                <a:srgbClr val="FF9973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6211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aration</a:t>
            </a:r>
            <a:endParaRPr dirty="0"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/>
              <a:t>02</a:t>
            </a:r>
            <a:endParaRPr sz="2800" dirty="0"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3</a:t>
            </a:r>
            <a:endParaRPr sz="2800"/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/>
              <a:t>Results</a:t>
            </a:r>
            <a:endParaRPr lang="de-DE" dirty="0"/>
          </a:p>
          <a:p>
            <a:endParaRPr lang="de-DE" dirty="0"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/>
              <a:t>Data Modeling</a:t>
            </a: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/>
                <a:t>Reflection</a:t>
              </a:r>
              <a:endParaRPr lang="de-DE" dirty="0"/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69FB1"/>
                  </a:solidFill>
                </a:rPr>
                <a:t>06</a:t>
              </a:r>
            </a:p>
          </p:txBody>
        </p:sp>
      </p:grpSp>
      <p:pic>
        <p:nvPicPr>
          <p:cNvPr id="2" name="Grafik 1" descr="Landwirtschaft Silhouette">
            <a:extLst>
              <a:ext uri="{FF2B5EF4-FFF2-40B4-BE49-F238E27FC236}">
                <a16:creationId xmlns:a16="http://schemas.microsoft.com/office/drawing/2014/main" id="{01EE9291-E672-8F1C-1DA4-A189144B36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3" name="Grafik 2" descr="Recherche Silhouette">
            <a:extLst>
              <a:ext uri="{FF2B5EF4-FFF2-40B4-BE49-F238E27FC236}">
                <a16:creationId xmlns:a16="http://schemas.microsoft.com/office/drawing/2014/main" id="{41B7992F-E382-276F-4A59-E6459701E6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4" name="Grafik 3" descr="Datenbank Silhouette">
            <a:extLst>
              <a:ext uri="{FF2B5EF4-FFF2-40B4-BE49-F238E27FC236}">
                <a16:creationId xmlns:a16="http://schemas.microsoft.com/office/drawing/2014/main" id="{DBFFFDCA-E2A9-6EAF-D2D1-5CA0F33855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5" name="Picture 2" descr="Vorbereitung - Kostenlose sonstiges Icons">
            <a:extLst>
              <a:ext uri="{FF2B5EF4-FFF2-40B4-BE49-F238E27FC236}">
                <a16:creationId xmlns:a16="http://schemas.microsoft.com/office/drawing/2014/main" id="{5BB76A7B-6CC2-D3E6-AE18-62AC31B4C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Modeling - Free computer icons">
            <a:extLst>
              <a:ext uri="{FF2B5EF4-FFF2-40B4-BE49-F238E27FC236}">
                <a16:creationId xmlns:a16="http://schemas.microsoft.com/office/drawing/2014/main" id="{C9A41933-9758-9857-648E-A57C130926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60072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893EE61F-9B5F-B347-04C6-B12916EC0F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506685"/>
              </p:ext>
            </p:extLst>
          </p:nvPr>
        </p:nvGraphicFramePr>
        <p:xfrm>
          <a:off x="513080" y="989475"/>
          <a:ext cx="4358640" cy="3653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08483403"/>
                  </p:ext>
                </p:extLst>
              </p:nvPr>
            </p:nvGraphicFramePr>
            <p:xfrm>
              <a:off x="5090745" y="989475"/>
              <a:ext cx="3532380" cy="381713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090745" y="989475"/>
                <a:ext cx="3532380" cy="381713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1A77DCD-97A1-4107-563F-DE3F400703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4395879"/>
              </p:ext>
            </p:extLst>
          </p:nvPr>
        </p:nvGraphicFramePr>
        <p:xfrm>
          <a:off x="1341120" y="945654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023329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B7354BAE-AEB1-85D7-CCB4-19F02203FE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61968"/>
              </p:ext>
            </p:extLst>
          </p:nvPr>
        </p:nvGraphicFramePr>
        <p:xfrm>
          <a:off x="1524000" y="942179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20670345-0466-FB1C-EF9A-0D80786341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2858000"/>
              </p:ext>
            </p:extLst>
          </p:nvPr>
        </p:nvGraphicFramePr>
        <p:xfrm>
          <a:off x="2031999" y="989475"/>
          <a:ext cx="5595258" cy="3408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007485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A7E2F6FF-4985-B488-ABD5-3D32C75068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4342924"/>
              </p:ext>
            </p:extLst>
          </p:nvPr>
        </p:nvGraphicFramePr>
        <p:xfrm>
          <a:off x="729003" y="918892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42AEBFFF-1F21-95DC-2E0D-5901E5F528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2682412"/>
              </p:ext>
            </p:extLst>
          </p:nvPr>
        </p:nvGraphicFramePr>
        <p:xfrm>
          <a:off x="6515604" y="1267235"/>
          <a:ext cx="2692400" cy="1683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6C32BE18-7A29-E252-1357-07603F359E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5087878"/>
              </p:ext>
            </p:extLst>
          </p:nvPr>
        </p:nvGraphicFramePr>
        <p:xfrm>
          <a:off x="6602355" y="3125063"/>
          <a:ext cx="2518897" cy="1683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97855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6" name="Google Shape;666;p31"/>
          <p:cNvGrpSpPr/>
          <p:nvPr/>
        </p:nvGrpSpPr>
        <p:grpSpPr>
          <a:xfrm>
            <a:off x="3811494" y="353575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72202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93649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8208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203195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62268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83375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4244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Predictive Apriori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63555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1051681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Data Prepa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E898AC"/>
                </a:solidFill>
              </a:rPr>
              <a:t>03</a:t>
            </a:r>
            <a:endParaRPr sz="2800" dirty="0">
              <a:solidFill>
                <a:srgbClr val="E898AC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E898AC"/>
          </a:solidFill>
          <a:ln>
            <a:solidFill>
              <a:srgbClr val="E898AC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Google Shape;486;p27">
            <a:extLst>
              <a:ext uri="{FF2B5EF4-FFF2-40B4-BE49-F238E27FC236}">
                <a16:creationId xmlns:a16="http://schemas.microsoft.com/office/drawing/2014/main" id="{07F9E3CB-FDA1-5B78-EF71-99BD93A6496B}"/>
              </a:ext>
            </a:extLst>
          </p:cNvPr>
          <p:cNvCxnSpPr/>
          <p:nvPr/>
        </p:nvCxnSpPr>
        <p:spPr>
          <a:xfrm rot="10800000" flipV="1">
            <a:off x="4069421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833966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Modeling</a:t>
            </a: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910359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6681135" cy="577800"/>
          </a:xfrm>
        </p:spPr>
        <p:txBody>
          <a:bodyPr vert="horz"/>
          <a:lstStyle/>
          <a:p>
            <a:r>
              <a:rPr lang="de-DE" dirty="0"/>
              <a:t>Modeling - Ziel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odellier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ein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ssoziationsanalys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u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antwor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Durchsu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Datenbank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na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tems je Itemset in de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jeweili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ransaktion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i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Regel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die 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s Auftreten eines Items auf der Grundlage des Auftretens anderer Items in diesen Transaktionen vorhersag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uswertung und Interpretation dieser Regel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Indikationen zu potentiellen Marketingkampagnen geben, um Umsätze zu steiger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152400">
              <a:buClr>
                <a:schemeClr val="lt1"/>
              </a:buClr>
              <a:buSzPts val="1200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Modellierung und Vergleich der Algorithmen </a:t>
            </a:r>
            <a:r>
              <a:rPr lang="de-DE" b="1" dirty="0">
                <a:solidFill>
                  <a:srgbClr val="00CFCC"/>
                </a:solidFill>
                <a:latin typeface="Maven Pro" panose="020B0604020202020204" charset="0"/>
              </a:rPr>
              <a:t>FP-Growth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, </a:t>
            </a:r>
            <a:r>
              <a:rPr lang="de-DE" b="1" dirty="0">
                <a:solidFill>
                  <a:srgbClr val="00CFCC"/>
                </a:solidFill>
                <a:latin typeface="Maven Pro" panose="020B0604020202020204" charset="0"/>
              </a:rPr>
              <a:t>Apriori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</a:t>
            </a:r>
            <a:r>
              <a:rPr lang="de-DE" b="1" dirty="0" err="1">
                <a:solidFill>
                  <a:srgbClr val="00CFCC"/>
                </a:solidFill>
                <a:latin typeface="Maven Pro" panose="020B0604020202020204" charset="0"/>
              </a:rPr>
              <a:t>Predictive</a:t>
            </a:r>
            <a:r>
              <a:rPr lang="de-DE" b="1" dirty="0">
                <a:solidFill>
                  <a:srgbClr val="00CFCC"/>
                </a:solidFill>
                <a:latin typeface="Maven Pro" panose="020B0604020202020204" charset="0"/>
              </a:rPr>
              <a:t> Apriori</a:t>
            </a:r>
          </a:p>
          <a:p>
            <a:pPr marL="457200" lvl="2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BE96952-0B4E-8128-BA91-0FA4B4C7B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3269" y="3504476"/>
            <a:ext cx="2606603" cy="1467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feil: eingekerbt nach rechts 1">
            <a:extLst>
              <a:ext uri="{FF2B5EF4-FFF2-40B4-BE49-F238E27FC236}">
                <a16:creationId xmlns:a16="http://schemas.microsoft.com/office/drawing/2014/main" id="{B49AE204-73B5-A899-5823-17B06DD96055}"/>
              </a:ext>
            </a:extLst>
          </p:cNvPr>
          <p:cNvSpPr/>
          <p:nvPr/>
        </p:nvSpPr>
        <p:spPr>
          <a:xfrm rot="6727416">
            <a:off x="7463491" y="3452543"/>
            <a:ext cx="344406" cy="103866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Pfeil: eingekerbt nach rechts 2">
            <a:extLst>
              <a:ext uri="{FF2B5EF4-FFF2-40B4-BE49-F238E27FC236}">
                <a16:creationId xmlns:a16="http://schemas.microsoft.com/office/drawing/2014/main" id="{275375AD-9437-10CD-9272-024AB966031F}"/>
              </a:ext>
            </a:extLst>
          </p:cNvPr>
          <p:cNvSpPr/>
          <p:nvPr/>
        </p:nvSpPr>
        <p:spPr>
          <a:xfrm rot="3346571">
            <a:off x="4498416" y="3405126"/>
            <a:ext cx="344406" cy="103866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Pfeil: eingekerbt nach rechts 6">
            <a:extLst>
              <a:ext uri="{FF2B5EF4-FFF2-40B4-BE49-F238E27FC236}">
                <a16:creationId xmlns:a16="http://schemas.microsoft.com/office/drawing/2014/main" id="{992B1024-0330-4C2D-603B-422006DF6CF7}"/>
              </a:ext>
            </a:extLst>
          </p:cNvPr>
          <p:cNvSpPr/>
          <p:nvPr/>
        </p:nvSpPr>
        <p:spPr>
          <a:xfrm rot="5815964">
            <a:off x="5638242" y="3350321"/>
            <a:ext cx="219023" cy="81099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C79BEE4-839B-9E1B-81FC-354ACD195BEA}"/>
              </a:ext>
            </a:extLst>
          </p:cNvPr>
          <p:cNvSpPr txBox="1"/>
          <p:nvPr/>
        </p:nvSpPr>
        <p:spPr>
          <a:xfrm>
            <a:off x="4859318" y="3504476"/>
            <a:ext cx="61780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 b="1" dirty="0">
                <a:latin typeface="Maven Pro" panose="020B0604020202020204" charset="0"/>
              </a:rPr>
              <a:t>Parameter</a:t>
            </a:r>
          </a:p>
        </p:txBody>
      </p:sp>
    </p:spTree>
    <p:extLst>
      <p:ext uri="{BB962C8B-B14F-4D97-AF65-F5344CB8AC3E}">
        <p14:creationId xmlns:p14="http://schemas.microsoft.com/office/powerpoint/2010/main" val="2737920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29334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8D4E22-7A5F-2767-7C3F-9C5741E957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odeling - Challenges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82AD1FC9-2C95-7FB6-CDF4-F8C63AE70DB9}"/>
              </a:ext>
            </a:extLst>
          </p:cNvPr>
          <p:cNvGrpSpPr/>
          <p:nvPr/>
        </p:nvGrpSpPr>
        <p:grpSpPr>
          <a:xfrm>
            <a:off x="728434" y="1559040"/>
            <a:ext cx="2683568" cy="577944"/>
            <a:chOff x="745432" y="1840935"/>
            <a:chExt cx="3278714" cy="706117"/>
          </a:xfrm>
        </p:grpSpPr>
        <p:sp>
          <p:nvSpPr>
            <p:cNvPr id="5" name="Rounded Rectangle 5">
              <a:extLst>
                <a:ext uri="{FF2B5EF4-FFF2-40B4-BE49-F238E27FC236}">
                  <a16:creationId xmlns:a16="http://schemas.microsoft.com/office/drawing/2014/main" id="{42D3974E-4BFC-ECB8-B1CD-2FED9D3780B0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solidFill>
              <a:schemeClr val="accent4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Verfügbarkeit der Operatoren: Standardmäßig</a:t>
              </a:r>
            </a:p>
            <a:p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ist nur der FP-Growth Operator in unserer </a:t>
              </a:r>
            </a:p>
            <a:p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genutzten </a:t>
              </a:r>
              <a:r>
                <a:rPr lang="de-DE" sz="700" dirty="0" err="1">
                  <a:solidFill>
                    <a:schemeClr val="bg1"/>
                  </a:solidFill>
                  <a:latin typeface="Maven Pro" panose="020B0604020202020204" charset="0"/>
                </a:rPr>
                <a:t>RapidMiner</a:t>
              </a:r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 Version verfügbar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443C0A37-08AD-C1E2-1673-9B34971D7A65}"/>
                </a:ext>
              </a:extLst>
            </p:cNvPr>
            <p:cNvGrpSpPr/>
            <p:nvPr/>
          </p:nvGrpSpPr>
          <p:grpSpPr>
            <a:xfrm>
              <a:off x="3446545" y="1840935"/>
              <a:ext cx="577601" cy="706117"/>
              <a:chOff x="2551032" y="1906295"/>
              <a:chExt cx="577601" cy="706117"/>
            </a:xfrm>
          </p:grpSpPr>
          <p:sp>
            <p:nvSpPr>
              <p:cNvPr id="6" name="Oval 9">
                <a:extLst>
                  <a:ext uri="{FF2B5EF4-FFF2-40B4-BE49-F238E27FC236}">
                    <a16:creationId xmlns:a16="http://schemas.microsoft.com/office/drawing/2014/main" id="{E64B0F6E-3DEA-9FFE-989A-5274FCD28A2F}"/>
                  </a:ext>
                </a:extLst>
              </p:cNvPr>
              <p:cNvSpPr/>
              <p:nvPr/>
            </p:nvSpPr>
            <p:spPr>
              <a:xfrm flipH="1">
                <a:off x="2551032" y="1906295"/>
                <a:ext cx="577601" cy="577799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215900" dist="50800" dir="5400000" algn="tl" rotWithShape="0">
                  <a:schemeClr val="accent2">
                    <a:lumMod val="75000"/>
                    <a:alpha val="37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R" dirty="0"/>
              </a:p>
            </p:txBody>
          </p:sp>
          <p:pic>
            <p:nvPicPr>
              <p:cNvPr id="7" name="Graphic 14">
                <a:extLst>
                  <a:ext uri="{FF2B5EF4-FFF2-40B4-BE49-F238E27FC236}">
                    <a16:creationId xmlns:a16="http://schemas.microsoft.com/office/drawing/2014/main" id="{773D6A4A-3B01-E988-5BD7-E64120DA36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flipH="1">
                <a:off x="2787718" y="2535495"/>
                <a:ext cx="104229" cy="76917"/>
              </a:xfrm>
              <a:prstGeom prst="rect">
                <a:avLst/>
              </a:prstGeom>
            </p:spPr>
          </p:pic>
        </p:grpSp>
      </p:grpSp>
      <p:sp>
        <p:nvSpPr>
          <p:cNvPr id="35" name="Pfeil: Chevron 34">
            <a:extLst>
              <a:ext uri="{FF2B5EF4-FFF2-40B4-BE49-F238E27FC236}">
                <a16:creationId xmlns:a16="http://schemas.microsoft.com/office/drawing/2014/main" id="{80B5F292-FCA3-10C5-5DFF-8D957F993334}"/>
              </a:ext>
            </a:extLst>
          </p:cNvPr>
          <p:cNvSpPr/>
          <p:nvPr/>
        </p:nvSpPr>
        <p:spPr>
          <a:xfrm>
            <a:off x="728434" y="1149003"/>
            <a:ext cx="2683568" cy="267286"/>
          </a:xfrm>
          <a:prstGeom prst="chevron">
            <a:avLst/>
          </a:prstGeom>
          <a:solidFill>
            <a:srgbClr val="F649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Challenges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2FC4597-2FD1-95EC-1CF1-4FEACB82F8D3}"/>
              </a:ext>
            </a:extLst>
          </p:cNvPr>
          <p:cNvGrpSpPr/>
          <p:nvPr/>
        </p:nvGrpSpPr>
        <p:grpSpPr>
          <a:xfrm>
            <a:off x="3674038" y="888031"/>
            <a:ext cx="1060258" cy="983097"/>
            <a:chOff x="3524341" y="1130731"/>
            <a:chExt cx="914400" cy="847854"/>
          </a:xfrm>
        </p:grpSpPr>
        <p:pic>
          <p:nvPicPr>
            <p:cNvPr id="37" name="Grafik 36" descr="Linke Gehirnhälfte Silhouette">
              <a:extLst>
                <a:ext uri="{FF2B5EF4-FFF2-40B4-BE49-F238E27FC236}">
                  <a16:creationId xmlns:a16="http://schemas.microsoft.com/office/drawing/2014/main" id="{308DCDA3-F76C-6B70-E2A5-21BA63D4A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flipH="1">
              <a:off x="3524341" y="1130731"/>
              <a:ext cx="914400" cy="847854"/>
            </a:xfrm>
            <a:prstGeom prst="rect">
              <a:avLst/>
            </a:prstGeom>
          </p:spPr>
        </p:pic>
        <p:pic>
          <p:nvPicPr>
            <p:cNvPr id="39" name="Grafik 38" descr="Fragezeichen Silhouette">
              <a:extLst>
                <a:ext uri="{FF2B5EF4-FFF2-40B4-BE49-F238E27FC236}">
                  <a16:creationId xmlns:a16="http://schemas.microsoft.com/office/drawing/2014/main" id="{04396E28-D9CA-0783-E060-88EB6FEA9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705882" y="1427871"/>
              <a:ext cx="247084" cy="247084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B5DD2228-9855-019A-50ED-77E14D29B5CC}"/>
              </a:ext>
            </a:extLst>
          </p:cNvPr>
          <p:cNvGrpSpPr/>
          <p:nvPr/>
        </p:nvGrpSpPr>
        <p:grpSpPr>
          <a:xfrm>
            <a:off x="728434" y="2217988"/>
            <a:ext cx="2683568" cy="577944"/>
            <a:chOff x="745432" y="1840935"/>
            <a:chExt cx="3278714" cy="706117"/>
          </a:xfrm>
        </p:grpSpPr>
        <p:sp>
          <p:nvSpPr>
            <p:cNvPr id="45" name="Rounded Rectangle 5">
              <a:extLst>
                <a:ext uri="{FF2B5EF4-FFF2-40B4-BE49-F238E27FC236}">
                  <a16:creationId xmlns:a16="http://schemas.microsoft.com/office/drawing/2014/main" id="{4D49D6ED-2E70-372F-CE6A-9BAC8D171A59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solidFill>
              <a:schemeClr val="accent4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Unterschiedliches, akzeptiertes Format der </a:t>
              </a:r>
              <a:r>
                <a:rPr lang="de-DE" sz="700" dirty="0" err="1">
                  <a:solidFill>
                    <a:schemeClr val="bg1"/>
                  </a:solidFill>
                  <a:latin typeface="Maven Pro" panose="020B0604020202020204" charset="0"/>
                </a:rPr>
                <a:t>Weka</a:t>
              </a:r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-Operatoren im Vergleich zu integriertem FP-Growth Operator in </a:t>
              </a:r>
              <a:r>
                <a:rPr lang="de-DE" sz="700" dirty="0" err="1">
                  <a:solidFill>
                    <a:schemeClr val="bg1"/>
                  </a:solidFill>
                  <a:latin typeface="Maven Pro" panose="020B0604020202020204" charset="0"/>
                </a:rPr>
                <a:t>RapidMiner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70845442-DE27-AEA3-7C8D-6EB438D6753E}"/>
                </a:ext>
              </a:extLst>
            </p:cNvPr>
            <p:cNvGrpSpPr/>
            <p:nvPr/>
          </p:nvGrpSpPr>
          <p:grpSpPr>
            <a:xfrm>
              <a:off x="3446545" y="1840935"/>
              <a:ext cx="577601" cy="706117"/>
              <a:chOff x="2551032" y="1906295"/>
              <a:chExt cx="577601" cy="706117"/>
            </a:xfrm>
          </p:grpSpPr>
          <p:sp>
            <p:nvSpPr>
              <p:cNvPr id="47" name="Oval 9">
                <a:extLst>
                  <a:ext uri="{FF2B5EF4-FFF2-40B4-BE49-F238E27FC236}">
                    <a16:creationId xmlns:a16="http://schemas.microsoft.com/office/drawing/2014/main" id="{46E0A363-2B50-66E6-A9CB-6AC76B13B5D7}"/>
                  </a:ext>
                </a:extLst>
              </p:cNvPr>
              <p:cNvSpPr/>
              <p:nvPr/>
            </p:nvSpPr>
            <p:spPr>
              <a:xfrm flipH="1">
                <a:off x="2551032" y="1906295"/>
                <a:ext cx="577601" cy="577799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215900" dist="50800" dir="5400000" algn="tl" rotWithShape="0">
                  <a:schemeClr val="accent2">
                    <a:lumMod val="75000"/>
                    <a:alpha val="37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R" dirty="0"/>
              </a:p>
            </p:txBody>
          </p:sp>
          <p:pic>
            <p:nvPicPr>
              <p:cNvPr id="48" name="Graphic 14">
                <a:extLst>
                  <a:ext uri="{FF2B5EF4-FFF2-40B4-BE49-F238E27FC236}">
                    <a16:creationId xmlns:a16="http://schemas.microsoft.com/office/drawing/2014/main" id="{B106585F-E04C-C720-361D-F9ED95D89A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flipH="1">
                <a:off x="2787718" y="2535495"/>
                <a:ext cx="104229" cy="76917"/>
              </a:xfrm>
              <a:prstGeom prst="rect">
                <a:avLst/>
              </a:prstGeom>
            </p:spPr>
          </p:pic>
        </p:grp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250D288-BAFC-755B-316B-7C07A5B59CB0}"/>
              </a:ext>
            </a:extLst>
          </p:cNvPr>
          <p:cNvGrpSpPr/>
          <p:nvPr/>
        </p:nvGrpSpPr>
        <p:grpSpPr>
          <a:xfrm>
            <a:off x="728434" y="2873979"/>
            <a:ext cx="2683568" cy="577944"/>
            <a:chOff x="745432" y="1840935"/>
            <a:chExt cx="3278714" cy="706117"/>
          </a:xfrm>
        </p:grpSpPr>
        <p:sp>
          <p:nvSpPr>
            <p:cNvPr id="50" name="Rounded Rectangle 5">
              <a:extLst>
                <a:ext uri="{FF2B5EF4-FFF2-40B4-BE49-F238E27FC236}">
                  <a16:creationId xmlns:a16="http://schemas.microsoft.com/office/drawing/2014/main" id="{AE129BA3-7C14-5706-A343-C4DFD725042A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solidFill>
              <a:schemeClr val="accent4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700" dirty="0">
                  <a:latin typeface="Maven Pro" panose="020B0604020202020204" charset="0"/>
                </a:rPr>
                <a:t>Unterschiedlich angewendete Hyperparameter der </a:t>
              </a:r>
              <a:r>
                <a:rPr lang="de-DE" sz="700" dirty="0" err="1">
                  <a:latin typeface="Maven Pro" panose="020B0604020202020204" charset="0"/>
                </a:rPr>
                <a:t>Weka</a:t>
              </a:r>
              <a:r>
                <a:rPr lang="de-DE" sz="700" dirty="0">
                  <a:latin typeface="Maven Pro" panose="020B0604020202020204" charset="0"/>
                </a:rPr>
                <a:t>-Operatoren im Vergleich zu integriertem FP-Growth Operator in </a:t>
              </a:r>
              <a:r>
                <a:rPr lang="de-DE" sz="700" dirty="0" err="1">
                  <a:latin typeface="Maven Pro" panose="020B0604020202020204" charset="0"/>
                </a:rPr>
                <a:t>RapidMiner</a:t>
              </a:r>
              <a:endParaRPr lang="en-US" sz="700" dirty="0">
                <a:latin typeface="Maven Pro" panose="020B0604020202020204" charset="0"/>
              </a:endParaRPr>
            </a:p>
          </p:txBody>
        </p: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865EDFCC-14D7-ADC0-276F-84C3AD547CD1}"/>
                </a:ext>
              </a:extLst>
            </p:cNvPr>
            <p:cNvGrpSpPr/>
            <p:nvPr/>
          </p:nvGrpSpPr>
          <p:grpSpPr>
            <a:xfrm>
              <a:off x="3446545" y="1840935"/>
              <a:ext cx="577601" cy="706117"/>
              <a:chOff x="2551032" y="1906295"/>
              <a:chExt cx="577601" cy="706117"/>
            </a:xfrm>
          </p:grpSpPr>
          <p:sp>
            <p:nvSpPr>
              <p:cNvPr id="52" name="Oval 9">
                <a:extLst>
                  <a:ext uri="{FF2B5EF4-FFF2-40B4-BE49-F238E27FC236}">
                    <a16:creationId xmlns:a16="http://schemas.microsoft.com/office/drawing/2014/main" id="{4B83BBEE-BB2C-344A-268A-E2A2314EA456}"/>
                  </a:ext>
                </a:extLst>
              </p:cNvPr>
              <p:cNvSpPr/>
              <p:nvPr/>
            </p:nvSpPr>
            <p:spPr>
              <a:xfrm flipH="1">
                <a:off x="2551032" y="1906295"/>
                <a:ext cx="577601" cy="577799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215900" dist="50800" dir="5400000" algn="tl" rotWithShape="0">
                  <a:schemeClr val="accent2">
                    <a:lumMod val="75000"/>
                    <a:alpha val="37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R" dirty="0"/>
              </a:p>
            </p:txBody>
          </p:sp>
          <p:pic>
            <p:nvPicPr>
              <p:cNvPr id="53" name="Graphic 14">
                <a:extLst>
                  <a:ext uri="{FF2B5EF4-FFF2-40B4-BE49-F238E27FC236}">
                    <a16:creationId xmlns:a16="http://schemas.microsoft.com/office/drawing/2014/main" id="{33D52DF2-DC82-383C-B8DC-95F5CAD71A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flipH="1">
                <a:off x="2787718" y="2535495"/>
                <a:ext cx="104229" cy="76917"/>
              </a:xfrm>
              <a:prstGeom prst="rect">
                <a:avLst/>
              </a:prstGeom>
            </p:spPr>
          </p:pic>
        </p:grp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9C3CD040-0730-A757-422D-10CCC362D698}"/>
              </a:ext>
            </a:extLst>
          </p:cNvPr>
          <p:cNvGrpSpPr/>
          <p:nvPr/>
        </p:nvGrpSpPr>
        <p:grpSpPr>
          <a:xfrm>
            <a:off x="728434" y="3566443"/>
            <a:ext cx="2683568" cy="577944"/>
            <a:chOff x="745432" y="1840935"/>
            <a:chExt cx="3278714" cy="706117"/>
          </a:xfrm>
        </p:grpSpPr>
        <p:sp>
          <p:nvSpPr>
            <p:cNvPr id="55" name="Rounded Rectangle 5">
              <a:extLst>
                <a:ext uri="{FF2B5EF4-FFF2-40B4-BE49-F238E27FC236}">
                  <a16:creationId xmlns:a16="http://schemas.microsoft.com/office/drawing/2014/main" id="{9E1D9D9F-4143-704F-43E8-6103F451BC50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solidFill>
              <a:schemeClr val="accent4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700" dirty="0" err="1">
                  <a:latin typeface="Maven Pro" panose="020B0604020202020204" charset="0"/>
                </a:rPr>
                <a:t>Pivotierung</a:t>
              </a:r>
              <a:r>
                <a:rPr lang="de-DE" sz="700" dirty="0">
                  <a:latin typeface="Maven Pro" panose="020B0604020202020204" charset="0"/>
                </a:rPr>
                <a:t> des </a:t>
              </a:r>
              <a:r>
                <a:rPr lang="de-DE" sz="700" dirty="0" err="1">
                  <a:latin typeface="Maven Pro" panose="020B0604020202020204" charset="0"/>
                </a:rPr>
                <a:t>Itemsets</a:t>
              </a:r>
              <a:r>
                <a:rPr lang="de-DE" sz="700" dirty="0">
                  <a:latin typeface="Maven Pro" panose="020B0604020202020204" charset="0"/>
                </a:rPr>
                <a:t> und gleichzeitiges Behalten der </a:t>
              </a:r>
              <a:r>
                <a:rPr lang="de-DE" sz="700" dirty="0" err="1">
                  <a:latin typeface="Maven Pro" panose="020B0604020202020204" charset="0"/>
                </a:rPr>
                <a:t>Itemspalte</a:t>
              </a:r>
              <a:r>
                <a:rPr lang="de-DE" sz="700" dirty="0">
                  <a:latin typeface="Maven Pro" panose="020B0604020202020204" charset="0"/>
                </a:rPr>
                <a:t> führt zu Assoziationsregeln mit jeweiliger Confidence von 1</a:t>
              </a:r>
              <a:endParaRPr lang="en-US" dirty="0"/>
            </a:p>
          </p:txBody>
        </p: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8F6CC25D-26C5-51BF-F717-63CA0471B8AF}"/>
                </a:ext>
              </a:extLst>
            </p:cNvPr>
            <p:cNvGrpSpPr/>
            <p:nvPr/>
          </p:nvGrpSpPr>
          <p:grpSpPr>
            <a:xfrm>
              <a:off x="3446545" y="1840935"/>
              <a:ext cx="577601" cy="706117"/>
              <a:chOff x="2551032" y="1906295"/>
              <a:chExt cx="577601" cy="706117"/>
            </a:xfrm>
          </p:grpSpPr>
          <p:sp>
            <p:nvSpPr>
              <p:cNvPr id="57" name="Oval 9">
                <a:extLst>
                  <a:ext uri="{FF2B5EF4-FFF2-40B4-BE49-F238E27FC236}">
                    <a16:creationId xmlns:a16="http://schemas.microsoft.com/office/drawing/2014/main" id="{DCF45B7F-8F82-0EFD-9267-1567D631DACF}"/>
                  </a:ext>
                </a:extLst>
              </p:cNvPr>
              <p:cNvSpPr/>
              <p:nvPr/>
            </p:nvSpPr>
            <p:spPr>
              <a:xfrm flipH="1">
                <a:off x="2551032" y="1906295"/>
                <a:ext cx="577601" cy="577799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215900" dist="50800" dir="5400000" algn="tl" rotWithShape="0">
                  <a:schemeClr val="accent2">
                    <a:lumMod val="75000"/>
                    <a:alpha val="37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R" dirty="0"/>
              </a:p>
            </p:txBody>
          </p:sp>
          <p:pic>
            <p:nvPicPr>
              <p:cNvPr id="58" name="Graphic 14">
                <a:extLst>
                  <a:ext uri="{FF2B5EF4-FFF2-40B4-BE49-F238E27FC236}">
                    <a16:creationId xmlns:a16="http://schemas.microsoft.com/office/drawing/2014/main" id="{F049047A-AF2E-35FF-275E-D208BAD839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flipH="1">
                <a:off x="2787718" y="2535495"/>
                <a:ext cx="104229" cy="76917"/>
              </a:xfrm>
              <a:prstGeom prst="rect">
                <a:avLst/>
              </a:prstGeom>
            </p:spPr>
          </p:pic>
        </p:grp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1FE1C48F-146D-9367-89FC-18D07A7BD0A9}"/>
              </a:ext>
            </a:extLst>
          </p:cNvPr>
          <p:cNvGrpSpPr/>
          <p:nvPr/>
        </p:nvGrpSpPr>
        <p:grpSpPr>
          <a:xfrm>
            <a:off x="728434" y="4258907"/>
            <a:ext cx="2683568" cy="472918"/>
            <a:chOff x="745432" y="1840935"/>
            <a:chExt cx="3278714" cy="577799"/>
          </a:xfrm>
        </p:grpSpPr>
        <p:sp>
          <p:nvSpPr>
            <p:cNvPr id="60" name="Rounded Rectangle 5">
              <a:extLst>
                <a:ext uri="{FF2B5EF4-FFF2-40B4-BE49-F238E27FC236}">
                  <a16:creationId xmlns:a16="http://schemas.microsoft.com/office/drawing/2014/main" id="{1B3914FF-6C6F-AF59-C745-932AC32E0E74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solidFill>
              <a:schemeClr val="accent4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700" dirty="0">
                  <a:latin typeface="Maven Pro" panose="020B0604020202020204" charset="0"/>
                </a:rPr>
                <a:t>Metadatenfehler aufgrund Import der CSV Datei: Attribute können nicht in Operatoren selektiert werden</a:t>
              </a:r>
              <a:endParaRPr lang="en-US" dirty="0"/>
            </a:p>
          </p:txBody>
        </p:sp>
        <p:sp>
          <p:nvSpPr>
            <p:cNvPr id="62" name="Oval 9">
              <a:extLst>
                <a:ext uri="{FF2B5EF4-FFF2-40B4-BE49-F238E27FC236}">
                  <a16:creationId xmlns:a16="http://schemas.microsoft.com/office/drawing/2014/main" id="{CAE5CD25-5549-949E-931D-220CC25FE831}"/>
                </a:ext>
              </a:extLst>
            </p:cNvPr>
            <p:cNvSpPr/>
            <p:nvPr/>
          </p:nvSpPr>
          <p:spPr>
            <a:xfrm flipH="1">
              <a:off x="3446545" y="1840935"/>
              <a:ext cx="577601" cy="57779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215900" dist="50800" dir="5400000" algn="tl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 dirty="0"/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BEE040BE-E4B6-1058-4A7D-47C4488DDBFF}"/>
              </a:ext>
            </a:extLst>
          </p:cNvPr>
          <p:cNvGrpSpPr/>
          <p:nvPr/>
        </p:nvGrpSpPr>
        <p:grpSpPr>
          <a:xfrm flipH="1">
            <a:off x="5092007" y="1559040"/>
            <a:ext cx="2683568" cy="577944"/>
            <a:chOff x="745432" y="1840935"/>
            <a:chExt cx="3278714" cy="706117"/>
          </a:xfrm>
          <a:solidFill>
            <a:srgbClr val="00CFCC"/>
          </a:solidFill>
        </p:grpSpPr>
        <p:sp>
          <p:nvSpPr>
            <p:cNvPr id="65" name="Rounded Rectangle 5">
              <a:extLst>
                <a:ext uri="{FF2B5EF4-FFF2-40B4-BE49-F238E27FC236}">
                  <a16:creationId xmlns:a16="http://schemas.microsoft.com/office/drawing/2014/main" id="{B2BE7A48-92AC-88E6-2178-2F5D2CF408C8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grpFill/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Integration von </a:t>
              </a:r>
              <a:r>
                <a:rPr lang="de-DE" sz="700" dirty="0" err="1">
                  <a:solidFill>
                    <a:schemeClr val="bg1"/>
                  </a:solidFill>
                  <a:latin typeface="Maven Pro" panose="020B0604020202020204" charset="0"/>
                </a:rPr>
                <a:t>Weka</a:t>
              </a:r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-Operatoren aus dem Marketplace (Siehe </a:t>
              </a:r>
              <a:r>
                <a:rPr lang="de-DE" sz="700" dirty="0" err="1">
                  <a:solidFill>
                    <a:schemeClr val="bg1"/>
                  </a:solidFill>
                  <a:latin typeface="Maven Pro" panose="020B0604020202020204" charset="0"/>
                </a:rPr>
                <a:t>Weka</a:t>
              </a:r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-Tool)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24B38D58-70C2-CC65-63B1-96AAA8A8FF52}"/>
                </a:ext>
              </a:extLst>
            </p:cNvPr>
            <p:cNvGrpSpPr/>
            <p:nvPr/>
          </p:nvGrpSpPr>
          <p:grpSpPr>
            <a:xfrm>
              <a:off x="3446545" y="1840935"/>
              <a:ext cx="577601" cy="706117"/>
              <a:chOff x="2551032" y="1906295"/>
              <a:chExt cx="577601" cy="706117"/>
            </a:xfrm>
            <a:grpFill/>
          </p:grpSpPr>
          <p:sp>
            <p:nvSpPr>
              <p:cNvPr id="67" name="Oval 9">
                <a:extLst>
                  <a:ext uri="{FF2B5EF4-FFF2-40B4-BE49-F238E27FC236}">
                    <a16:creationId xmlns:a16="http://schemas.microsoft.com/office/drawing/2014/main" id="{119C25A3-5137-FF94-159D-3E64E69CBF5D}"/>
                  </a:ext>
                </a:extLst>
              </p:cNvPr>
              <p:cNvSpPr/>
              <p:nvPr/>
            </p:nvSpPr>
            <p:spPr>
              <a:xfrm flipH="1">
                <a:off x="2551032" y="1906295"/>
                <a:ext cx="577601" cy="577799"/>
              </a:xfrm>
              <a:prstGeom prst="ellipse">
                <a:avLst/>
              </a:prstGeom>
              <a:grpFill/>
              <a:ln>
                <a:noFill/>
              </a:ln>
              <a:effectLst>
                <a:outerShdw blurRad="215900" dist="50800" dir="5400000" algn="tl" rotWithShape="0">
                  <a:schemeClr val="accent2">
                    <a:lumMod val="75000"/>
                    <a:alpha val="37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R" dirty="0"/>
              </a:p>
            </p:txBody>
          </p:sp>
          <p:pic>
            <p:nvPicPr>
              <p:cNvPr id="68" name="Graphic 14">
                <a:extLst>
                  <a:ext uri="{FF2B5EF4-FFF2-40B4-BE49-F238E27FC236}">
                    <a16:creationId xmlns:a16="http://schemas.microsoft.com/office/drawing/2014/main" id="{4AFA7260-FAFC-E28C-54A0-C191E563D3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2787718" y="2535495"/>
                <a:ext cx="104229" cy="76917"/>
              </a:xfrm>
              <a:prstGeom prst="rect">
                <a:avLst/>
              </a:prstGeom>
            </p:spPr>
          </p:pic>
        </p:grpSp>
      </p:grpSp>
      <p:sp>
        <p:nvSpPr>
          <p:cNvPr id="69" name="Pfeil: Chevron 68">
            <a:extLst>
              <a:ext uri="{FF2B5EF4-FFF2-40B4-BE49-F238E27FC236}">
                <a16:creationId xmlns:a16="http://schemas.microsoft.com/office/drawing/2014/main" id="{27722754-DE03-470A-DA9A-BA44DD07E0C2}"/>
              </a:ext>
            </a:extLst>
          </p:cNvPr>
          <p:cNvSpPr/>
          <p:nvPr/>
        </p:nvSpPr>
        <p:spPr>
          <a:xfrm flipH="1">
            <a:off x="5092007" y="1149003"/>
            <a:ext cx="2683568" cy="267286"/>
          </a:xfrm>
          <a:prstGeom prst="chevron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Solutions</a:t>
            </a:r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2CCC1B4-60E9-DCDD-BA50-C8B9B1687F4E}"/>
              </a:ext>
            </a:extLst>
          </p:cNvPr>
          <p:cNvGrpSpPr/>
          <p:nvPr/>
        </p:nvGrpSpPr>
        <p:grpSpPr>
          <a:xfrm flipH="1">
            <a:off x="5092007" y="2217988"/>
            <a:ext cx="2683568" cy="577944"/>
            <a:chOff x="745432" y="1840935"/>
            <a:chExt cx="3278714" cy="706117"/>
          </a:xfrm>
          <a:solidFill>
            <a:srgbClr val="00CFCC"/>
          </a:solidFill>
        </p:grpSpPr>
        <p:sp>
          <p:nvSpPr>
            <p:cNvPr id="71" name="Rounded Rectangle 5">
              <a:extLst>
                <a:ext uri="{FF2B5EF4-FFF2-40B4-BE49-F238E27FC236}">
                  <a16:creationId xmlns:a16="http://schemas.microsoft.com/office/drawing/2014/main" id="{4F3A4424-CC66-D75F-2331-F95088E05909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grpFill/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Zusätzliche Data </a:t>
              </a:r>
              <a:r>
                <a:rPr lang="de-DE" sz="700" dirty="0" err="1">
                  <a:solidFill>
                    <a:schemeClr val="bg1"/>
                  </a:solidFill>
                  <a:latin typeface="Maven Pro" panose="020B0604020202020204" charset="0"/>
                </a:rPr>
                <a:t>Preparation</a:t>
              </a:r>
              <a:r>
                <a:rPr lang="de-DE" sz="700" dirty="0">
                  <a:solidFill>
                    <a:schemeClr val="bg1"/>
                  </a:solidFill>
                  <a:latin typeface="Maven Pro" panose="020B0604020202020204" charset="0"/>
                </a:rPr>
                <a:t> als Vorbereitung für die Operatoren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  <p:grpSp>
          <p:nvGrpSpPr>
            <p:cNvPr id="72" name="Gruppieren 71">
              <a:extLst>
                <a:ext uri="{FF2B5EF4-FFF2-40B4-BE49-F238E27FC236}">
                  <a16:creationId xmlns:a16="http://schemas.microsoft.com/office/drawing/2014/main" id="{6461D94E-5354-6644-83B9-8EB482F3F86B}"/>
                </a:ext>
              </a:extLst>
            </p:cNvPr>
            <p:cNvGrpSpPr/>
            <p:nvPr/>
          </p:nvGrpSpPr>
          <p:grpSpPr>
            <a:xfrm>
              <a:off x="3446545" y="1840935"/>
              <a:ext cx="577601" cy="706117"/>
              <a:chOff x="2551032" y="1906295"/>
              <a:chExt cx="577601" cy="706117"/>
            </a:xfrm>
            <a:grpFill/>
          </p:grpSpPr>
          <p:sp>
            <p:nvSpPr>
              <p:cNvPr id="73" name="Oval 9">
                <a:extLst>
                  <a:ext uri="{FF2B5EF4-FFF2-40B4-BE49-F238E27FC236}">
                    <a16:creationId xmlns:a16="http://schemas.microsoft.com/office/drawing/2014/main" id="{3CA25C34-70F0-9A6E-B48B-9FF77CCDB881}"/>
                  </a:ext>
                </a:extLst>
              </p:cNvPr>
              <p:cNvSpPr/>
              <p:nvPr/>
            </p:nvSpPr>
            <p:spPr>
              <a:xfrm flipH="1">
                <a:off x="2551032" y="1906295"/>
                <a:ext cx="577601" cy="577799"/>
              </a:xfrm>
              <a:prstGeom prst="ellipse">
                <a:avLst/>
              </a:prstGeom>
              <a:grpFill/>
              <a:ln>
                <a:noFill/>
              </a:ln>
              <a:effectLst>
                <a:outerShdw blurRad="215900" dist="50800" dir="5400000" algn="tl" rotWithShape="0">
                  <a:schemeClr val="accent2">
                    <a:lumMod val="75000"/>
                    <a:alpha val="37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R" dirty="0"/>
              </a:p>
            </p:txBody>
          </p:sp>
          <p:pic>
            <p:nvPicPr>
              <p:cNvPr id="74" name="Graphic 14">
                <a:extLst>
                  <a:ext uri="{FF2B5EF4-FFF2-40B4-BE49-F238E27FC236}">
                    <a16:creationId xmlns:a16="http://schemas.microsoft.com/office/drawing/2014/main" id="{55EA0430-8999-B3B0-7FD8-69DC176B98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2787718" y="2535495"/>
                <a:ext cx="104229" cy="76917"/>
              </a:xfrm>
              <a:prstGeom prst="rect">
                <a:avLst/>
              </a:prstGeom>
            </p:spPr>
          </p:pic>
        </p:grp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19826805-C9D3-4321-3E57-58959F812F5F}"/>
              </a:ext>
            </a:extLst>
          </p:cNvPr>
          <p:cNvGrpSpPr/>
          <p:nvPr/>
        </p:nvGrpSpPr>
        <p:grpSpPr>
          <a:xfrm flipH="1">
            <a:off x="5092007" y="2873979"/>
            <a:ext cx="2683568" cy="577944"/>
            <a:chOff x="745432" y="1840935"/>
            <a:chExt cx="3278714" cy="706117"/>
          </a:xfrm>
          <a:solidFill>
            <a:srgbClr val="00CFCC"/>
          </a:solidFill>
        </p:grpSpPr>
        <p:sp>
          <p:nvSpPr>
            <p:cNvPr id="76" name="Rounded Rectangle 5">
              <a:extLst>
                <a:ext uri="{FF2B5EF4-FFF2-40B4-BE49-F238E27FC236}">
                  <a16:creationId xmlns:a16="http://schemas.microsoft.com/office/drawing/2014/main" id="{D91DBF9C-81FD-82BB-DD1C-69AA3E7CD671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grpFill/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700" dirty="0">
                  <a:latin typeface="Maven Pro" panose="020B0604020202020204" charset="0"/>
                </a:rPr>
                <a:t>It</a:t>
              </a:r>
              <a:r>
                <a:rPr lang="de-DE" sz="700" dirty="0" err="1">
                  <a:latin typeface="Maven Pro" panose="020B0604020202020204" charset="0"/>
                </a:rPr>
                <a:t>erative</a:t>
              </a:r>
              <a:r>
                <a:rPr lang="de-DE" sz="700" dirty="0">
                  <a:latin typeface="Maven Pro" panose="020B0604020202020204" charset="0"/>
                </a:rPr>
                <a:t> Verwendung, Vergleich und Anpassung</a:t>
              </a:r>
            </a:p>
            <a:p>
              <a:pPr algn="r"/>
              <a:r>
                <a:rPr lang="de-DE" sz="700" dirty="0">
                  <a:latin typeface="Maven Pro" panose="020B0604020202020204" charset="0"/>
                </a:rPr>
                <a:t>der Hyperparameter aller Operatoren</a:t>
              </a:r>
              <a:endParaRPr lang="en-US" sz="700" dirty="0">
                <a:latin typeface="Maven Pro" panose="020B0604020202020204" charset="0"/>
              </a:endParaRPr>
            </a:p>
          </p:txBody>
        </p: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F037B010-9883-D321-FACA-D986A4AAE653}"/>
                </a:ext>
              </a:extLst>
            </p:cNvPr>
            <p:cNvGrpSpPr/>
            <p:nvPr/>
          </p:nvGrpSpPr>
          <p:grpSpPr>
            <a:xfrm>
              <a:off x="3446545" y="1840935"/>
              <a:ext cx="577601" cy="706117"/>
              <a:chOff x="2551032" y="1906295"/>
              <a:chExt cx="577601" cy="706117"/>
            </a:xfrm>
            <a:grpFill/>
          </p:grpSpPr>
          <p:sp>
            <p:nvSpPr>
              <p:cNvPr id="78" name="Oval 9">
                <a:extLst>
                  <a:ext uri="{FF2B5EF4-FFF2-40B4-BE49-F238E27FC236}">
                    <a16:creationId xmlns:a16="http://schemas.microsoft.com/office/drawing/2014/main" id="{E0AA40D9-85F6-106E-A4B8-8468C8D06DC6}"/>
                  </a:ext>
                </a:extLst>
              </p:cNvPr>
              <p:cNvSpPr/>
              <p:nvPr/>
            </p:nvSpPr>
            <p:spPr>
              <a:xfrm flipH="1">
                <a:off x="2551032" y="1906295"/>
                <a:ext cx="577601" cy="577799"/>
              </a:xfrm>
              <a:prstGeom prst="ellipse">
                <a:avLst/>
              </a:prstGeom>
              <a:grpFill/>
              <a:ln>
                <a:noFill/>
              </a:ln>
              <a:effectLst>
                <a:outerShdw blurRad="215900" dist="50800" dir="5400000" algn="tl" rotWithShape="0">
                  <a:schemeClr val="accent2">
                    <a:lumMod val="75000"/>
                    <a:alpha val="37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R" dirty="0"/>
              </a:p>
            </p:txBody>
          </p:sp>
          <p:pic>
            <p:nvPicPr>
              <p:cNvPr id="79" name="Graphic 14">
                <a:extLst>
                  <a:ext uri="{FF2B5EF4-FFF2-40B4-BE49-F238E27FC236}">
                    <a16:creationId xmlns:a16="http://schemas.microsoft.com/office/drawing/2014/main" id="{09E04418-477F-67C1-A609-AAB9E03541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2787718" y="2535495"/>
                <a:ext cx="104229" cy="76917"/>
              </a:xfrm>
              <a:prstGeom prst="rect">
                <a:avLst/>
              </a:prstGeom>
            </p:spPr>
          </p:pic>
        </p:grpSp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623DD5F5-46C4-DE54-7921-270496015321}"/>
              </a:ext>
            </a:extLst>
          </p:cNvPr>
          <p:cNvGrpSpPr/>
          <p:nvPr/>
        </p:nvGrpSpPr>
        <p:grpSpPr>
          <a:xfrm flipH="1">
            <a:off x="5092007" y="3566443"/>
            <a:ext cx="2683568" cy="577944"/>
            <a:chOff x="745432" y="1840935"/>
            <a:chExt cx="3278714" cy="706117"/>
          </a:xfrm>
          <a:solidFill>
            <a:srgbClr val="00CFCC"/>
          </a:solidFill>
        </p:grpSpPr>
        <p:sp>
          <p:nvSpPr>
            <p:cNvPr id="81" name="Rounded Rectangle 5">
              <a:extLst>
                <a:ext uri="{FF2B5EF4-FFF2-40B4-BE49-F238E27FC236}">
                  <a16:creationId xmlns:a16="http://schemas.microsoft.com/office/drawing/2014/main" id="{8D9F04B5-F19C-C038-9F66-655B71EA8FC9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grpFill/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de-DE" sz="700" dirty="0">
                  <a:latin typeface="Maven Pro" panose="020B0604020202020204" charset="0"/>
                </a:rPr>
                <a:t>Zusätzliche, invertierte Selektierung der Spalten Item und </a:t>
              </a:r>
              <a:r>
                <a:rPr lang="de-DE" sz="700" dirty="0" err="1">
                  <a:latin typeface="Maven Pro" panose="020B0604020202020204" charset="0"/>
                </a:rPr>
                <a:t>TransactionNo</a:t>
              </a:r>
              <a:endParaRPr lang="en-US" sz="700" dirty="0">
                <a:latin typeface="Maven Pro" panose="020B0604020202020204" charset="0"/>
              </a:endParaRPr>
            </a:p>
          </p:txBody>
        </p:sp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B752B090-EB09-6435-3AE9-6B19B227C162}"/>
                </a:ext>
              </a:extLst>
            </p:cNvPr>
            <p:cNvGrpSpPr/>
            <p:nvPr/>
          </p:nvGrpSpPr>
          <p:grpSpPr>
            <a:xfrm>
              <a:off x="3446545" y="1840935"/>
              <a:ext cx="577601" cy="706117"/>
              <a:chOff x="2551032" y="1906295"/>
              <a:chExt cx="577601" cy="706117"/>
            </a:xfrm>
            <a:grpFill/>
          </p:grpSpPr>
          <p:sp>
            <p:nvSpPr>
              <p:cNvPr id="83" name="Oval 9">
                <a:extLst>
                  <a:ext uri="{FF2B5EF4-FFF2-40B4-BE49-F238E27FC236}">
                    <a16:creationId xmlns:a16="http://schemas.microsoft.com/office/drawing/2014/main" id="{ADD61924-CF9B-D48C-6D53-AD375EC5D6FB}"/>
                  </a:ext>
                </a:extLst>
              </p:cNvPr>
              <p:cNvSpPr/>
              <p:nvPr/>
            </p:nvSpPr>
            <p:spPr>
              <a:xfrm flipH="1">
                <a:off x="2551032" y="1906295"/>
                <a:ext cx="577601" cy="577799"/>
              </a:xfrm>
              <a:prstGeom prst="ellipse">
                <a:avLst/>
              </a:prstGeom>
              <a:grpFill/>
              <a:ln>
                <a:noFill/>
              </a:ln>
              <a:effectLst>
                <a:outerShdw blurRad="215900" dist="50800" dir="5400000" algn="tl" rotWithShape="0">
                  <a:schemeClr val="accent2">
                    <a:lumMod val="75000"/>
                    <a:alpha val="37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R" dirty="0"/>
              </a:p>
            </p:txBody>
          </p:sp>
          <p:pic>
            <p:nvPicPr>
              <p:cNvPr id="84" name="Graphic 14">
                <a:extLst>
                  <a:ext uri="{FF2B5EF4-FFF2-40B4-BE49-F238E27FC236}">
                    <a16:creationId xmlns:a16="http://schemas.microsoft.com/office/drawing/2014/main" id="{61C41F2E-6D2E-F240-D5CE-458DE771BA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2787718" y="2535495"/>
                <a:ext cx="104229" cy="76917"/>
              </a:xfrm>
              <a:prstGeom prst="rect">
                <a:avLst/>
              </a:prstGeom>
            </p:spPr>
          </p:pic>
        </p:grpSp>
      </p:grp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ED17F546-24E8-F66E-09F5-0D12CE80AAD2}"/>
              </a:ext>
            </a:extLst>
          </p:cNvPr>
          <p:cNvGrpSpPr/>
          <p:nvPr/>
        </p:nvGrpSpPr>
        <p:grpSpPr>
          <a:xfrm flipH="1">
            <a:off x="5092007" y="4258907"/>
            <a:ext cx="2683568" cy="472918"/>
            <a:chOff x="745432" y="1840935"/>
            <a:chExt cx="3278714" cy="577799"/>
          </a:xfrm>
          <a:solidFill>
            <a:srgbClr val="00CFCC"/>
          </a:solidFill>
        </p:grpSpPr>
        <p:sp>
          <p:nvSpPr>
            <p:cNvPr id="86" name="Rounded Rectangle 5">
              <a:extLst>
                <a:ext uri="{FF2B5EF4-FFF2-40B4-BE49-F238E27FC236}">
                  <a16:creationId xmlns:a16="http://schemas.microsoft.com/office/drawing/2014/main" id="{26DFABF9-884B-A551-AAD0-5EC4E107B1E5}"/>
                </a:ext>
              </a:extLst>
            </p:cNvPr>
            <p:cNvSpPr/>
            <p:nvPr/>
          </p:nvSpPr>
          <p:spPr>
            <a:xfrm flipH="1">
              <a:off x="745432" y="1978585"/>
              <a:ext cx="2876998" cy="428265"/>
            </a:xfrm>
            <a:prstGeom prst="roundRect">
              <a:avLst>
                <a:gd name="adj" fmla="val 23913"/>
              </a:avLst>
            </a:prstGeom>
            <a:grpFill/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700" dirty="0">
                  <a:latin typeface="Maven Pro" panose="020B0604020202020204" charset="0"/>
                </a:rPr>
                <a:t>Option „Synchronisierung der Metadaten mit realen Daten“ aktivieren und zusätzliche Erstellung eines integrierten </a:t>
              </a:r>
              <a:r>
                <a:rPr lang="de-DE" sz="700" dirty="0" err="1">
                  <a:latin typeface="Maven Pro" panose="020B0604020202020204" charset="0"/>
                </a:rPr>
                <a:t>RapidMiner</a:t>
              </a:r>
              <a:r>
                <a:rPr lang="de-DE" sz="700" dirty="0">
                  <a:latin typeface="Maven Pro" panose="020B0604020202020204" charset="0"/>
                </a:rPr>
                <a:t> </a:t>
              </a:r>
              <a:r>
                <a:rPr lang="de-DE" sz="700" dirty="0" err="1">
                  <a:latin typeface="Maven Pro" panose="020B0604020202020204" charset="0"/>
                </a:rPr>
                <a:t>Tables</a:t>
              </a:r>
              <a:r>
                <a:rPr lang="de-DE" sz="700" dirty="0">
                  <a:latin typeface="Maven Pro" panose="020B0604020202020204" charset="0"/>
                </a:rPr>
                <a:t> je </a:t>
              </a:r>
              <a:r>
                <a:rPr lang="de-DE" sz="700" dirty="0" err="1">
                  <a:latin typeface="Maven Pro" panose="020B0604020202020204" charset="0"/>
                </a:rPr>
                <a:t>import</a:t>
              </a:r>
              <a:r>
                <a:rPr lang="de-DE" sz="700" dirty="0">
                  <a:latin typeface="Maven Pro" panose="020B0604020202020204" charset="0"/>
                </a:rPr>
                <a:t>. Datensatz</a:t>
              </a:r>
              <a:endParaRPr lang="en-US" sz="700" dirty="0">
                <a:latin typeface="Maven Pro" panose="020B0604020202020204" charset="0"/>
              </a:endParaRPr>
            </a:p>
          </p:txBody>
        </p:sp>
        <p:sp>
          <p:nvSpPr>
            <p:cNvPr id="87" name="Oval 9">
              <a:extLst>
                <a:ext uri="{FF2B5EF4-FFF2-40B4-BE49-F238E27FC236}">
                  <a16:creationId xmlns:a16="http://schemas.microsoft.com/office/drawing/2014/main" id="{DEA317D4-8C1C-9C81-1BED-C40863545217}"/>
                </a:ext>
              </a:extLst>
            </p:cNvPr>
            <p:cNvSpPr/>
            <p:nvPr/>
          </p:nvSpPr>
          <p:spPr>
            <a:xfrm flipH="1">
              <a:off x="3446545" y="1840935"/>
              <a:ext cx="577601" cy="577799"/>
            </a:xfrm>
            <a:prstGeom prst="ellipse">
              <a:avLst/>
            </a:prstGeom>
            <a:grpFill/>
            <a:ln>
              <a:noFill/>
            </a:ln>
            <a:effectLst>
              <a:outerShdw blurRad="215900" dist="50800" dir="5400000" algn="tl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 dirty="0"/>
            </a:p>
          </p:txBody>
        </p:sp>
      </p:grp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0015445A-0AB4-9FF4-5F69-5EA8CBFE5D58}"/>
              </a:ext>
            </a:extLst>
          </p:cNvPr>
          <p:cNvCxnSpPr/>
          <p:nvPr/>
        </p:nvCxnSpPr>
        <p:spPr>
          <a:xfrm>
            <a:off x="4204167" y="2022231"/>
            <a:ext cx="0" cy="2603109"/>
          </a:xfrm>
          <a:prstGeom prst="line">
            <a:avLst/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16337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 - Challenge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91E97D5-43DC-B167-E11B-1CFFFC25B5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392" y="906779"/>
            <a:ext cx="4549887" cy="347471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1D782A5-A2CA-D016-2A7F-53E36AF370B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288" r="261"/>
          <a:stretch/>
        </p:blipFill>
        <p:spPr>
          <a:xfrm>
            <a:off x="5963745" y="906778"/>
            <a:ext cx="2102796" cy="3474712"/>
          </a:xfrm>
          <a:prstGeom prst="rect">
            <a:avLst/>
          </a:prstGeom>
        </p:spPr>
      </p:pic>
      <p:sp>
        <p:nvSpPr>
          <p:cNvPr id="8" name="Pfeil: eingekerbt nach rechts 7">
            <a:extLst>
              <a:ext uri="{FF2B5EF4-FFF2-40B4-BE49-F238E27FC236}">
                <a16:creationId xmlns:a16="http://schemas.microsoft.com/office/drawing/2014/main" id="{50A666F9-354D-D6F2-0F21-B8FFB77CB03A}"/>
              </a:ext>
            </a:extLst>
          </p:cNvPr>
          <p:cNvSpPr/>
          <p:nvPr/>
        </p:nvSpPr>
        <p:spPr>
          <a:xfrm>
            <a:off x="5453809" y="2592201"/>
            <a:ext cx="344406" cy="103866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3B0DC8-F389-DCFC-F7F2-123ABD45F8CE}"/>
              </a:ext>
            </a:extLst>
          </p:cNvPr>
          <p:cNvSpPr/>
          <p:nvPr/>
        </p:nvSpPr>
        <p:spPr>
          <a:xfrm>
            <a:off x="6553200" y="1432560"/>
            <a:ext cx="632460" cy="1836420"/>
          </a:xfrm>
          <a:prstGeom prst="roundRect">
            <a:avLst/>
          </a:prstGeom>
          <a:noFill/>
          <a:ln>
            <a:solidFill>
              <a:srgbClr val="F64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225E8D1F-6651-357F-516E-E39E31D880F7}"/>
              </a:ext>
            </a:extLst>
          </p:cNvPr>
          <p:cNvSpPr/>
          <p:nvPr/>
        </p:nvSpPr>
        <p:spPr>
          <a:xfrm>
            <a:off x="2278380" y="1546860"/>
            <a:ext cx="739140" cy="198120"/>
          </a:xfrm>
          <a:prstGeom prst="roundRect">
            <a:avLst/>
          </a:prstGeom>
          <a:noFill/>
          <a:ln>
            <a:solidFill>
              <a:srgbClr val="F64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0C5FC616-0C3B-D79D-798D-5274DA27538B}"/>
              </a:ext>
            </a:extLst>
          </p:cNvPr>
          <p:cNvSpPr/>
          <p:nvPr/>
        </p:nvSpPr>
        <p:spPr>
          <a:xfrm>
            <a:off x="6553200" y="3314700"/>
            <a:ext cx="1276905" cy="457202"/>
          </a:xfrm>
          <a:prstGeom prst="roundRect">
            <a:avLst/>
          </a:prstGeom>
          <a:noFill/>
          <a:ln>
            <a:solidFill>
              <a:srgbClr val="F64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ACE0FE1-B2FD-0A63-20B7-6819D1C22AC2}"/>
              </a:ext>
            </a:extLst>
          </p:cNvPr>
          <p:cNvSpPr txBox="1"/>
          <p:nvPr/>
        </p:nvSpPr>
        <p:spPr>
          <a:xfrm>
            <a:off x="6542298" y="3817622"/>
            <a:ext cx="2232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/>
              <a:t>Standardmäßig In </a:t>
            </a:r>
            <a:r>
              <a:rPr lang="de-DE" sz="700" dirty="0" err="1"/>
              <a:t>RapidMiner</a:t>
            </a:r>
            <a:r>
              <a:rPr lang="de-DE" sz="700" dirty="0"/>
              <a:t> </a:t>
            </a:r>
          </a:p>
          <a:p>
            <a:r>
              <a:rPr lang="de-DE" sz="700" dirty="0"/>
              <a:t>enthalt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EB98759-09F4-45BA-B498-0FDC85688B02}"/>
              </a:ext>
            </a:extLst>
          </p:cNvPr>
          <p:cNvSpPr txBox="1"/>
          <p:nvPr/>
        </p:nvSpPr>
        <p:spPr>
          <a:xfrm>
            <a:off x="7185660" y="2231693"/>
            <a:ext cx="2232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 err="1"/>
              <a:t>Weka</a:t>
            </a:r>
            <a:r>
              <a:rPr lang="de-DE" sz="700" dirty="0"/>
              <a:t> </a:t>
            </a:r>
            <a:r>
              <a:rPr lang="de-DE" sz="700" dirty="0" err="1"/>
              <a:t>Machine</a:t>
            </a:r>
            <a:r>
              <a:rPr lang="de-DE" sz="700" dirty="0"/>
              <a:t> </a:t>
            </a:r>
          </a:p>
          <a:p>
            <a:r>
              <a:rPr lang="de-DE" sz="700" dirty="0"/>
              <a:t>Learning Library</a:t>
            </a:r>
          </a:p>
        </p:txBody>
      </p:sp>
      <p:pic>
        <p:nvPicPr>
          <p:cNvPr id="2050" name="Picture 2" descr="Weka - Association">
            <a:extLst>
              <a:ext uri="{FF2B5EF4-FFF2-40B4-BE49-F238E27FC236}">
                <a16:creationId xmlns:a16="http://schemas.microsoft.com/office/drawing/2014/main" id="{86A2EDAB-8D4A-DCEF-A7C4-783FB1A0F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2424" y="3395187"/>
            <a:ext cx="2259152" cy="1683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feil: eingekerbt nach rechts 13">
            <a:extLst>
              <a:ext uri="{FF2B5EF4-FFF2-40B4-BE49-F238E27FC236}">
                <a16:creationId xmlns:a16="http://schemas.microsoft.com/office/drawing/2014/main" id="{8077E74A-9FBE-6D74-0524-14E5F460065E}"/>
              </a:ext>
            </a:extLst>
          </p:cNvPr>
          <p:cNvSpPr/>
          <p:nvPr/>
        </p:nvSpPr>
        <p:spPr>
          <a:xfrm rot="8874844">
            <a:off x="5488140" y="3127294"/>
            <a:ext cx="344406" cy="103866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8321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 - </a:t>
            </a:r>
            <a:r>
              <a:rPr lang="de-DE" dirty="0" err="1"/>
              <a:t>Process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1E1DDAC-E500-3625-8868-43FDF09B26A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3" t="4842" r="261"/>
          <a:stretch/>
        </p:blipFill>
        <p:spPr>
          <a:xfrm>
            <a:off x="714374" y="1172387"/>
            <a:ext cx="7245531" cy="3727273"/>
          </a:xfrm>
          <a:prstGeom prst="rect">
            <a:avLst/>
          </a:prstGeom>
        </p:spPr>
      </p:pic>
      <p:sp>
        <p:nvSpPr>
          <p:cNvPr id="4" name="Parallelogramm 3">
            <a:extLst>
              <a:ext uri="{FF2B5EF4-FFF2-40B4-BE49-F238E27FC236}">
                <a16:creationId xmlns:a16="http://schemas.microsoft.com/office/drawing/2014/main" id="{2C5C1505-A296-B503-668B-70A4C1A2A3F0}"/>
              </a:ext>
            </a:extLst>
          </p:cNvPr>
          <p:cNvSpPr/>
          <p:nvPr/>
        </p:nvSpPr>
        <p:spPr>
          <a:xfrm>
            <a:off x="714375" y="1044454"/>
            <a:ext cx="7277100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Modeling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Process</a:t>
            </a:r>
            <a:endParaRPr lang="de-DE" sz="800" dirty="0">
              <a:solidFill>
                <a:srgbClr val="000000"/>
              </a:solidFill>
              <a:latin typeface="Maven Pro" panose="020B0604020202020204" charset="0"/>
            </a:endParaRPr>
          </a:p>
        </p:txBody>
      </p:sp>
      <p:sp>
        <p:nvSpPr>
          <p:cNvPr id="7" name="Sprechblase: oval 6">
            <a:extLst>
              <a:ext uri="{FF2B5EF4-FFF2-40B4-BE49-F238E27FC236}">
                <a16:creationId xmlns:a16="http://schemas.microsoft.com/office/drawing/2014/main" id="{3F504CBF-4411-F27E-89CC-500608340DAC}"/>
              </a:ext>
            </a:extLst>
          </p:cNvPr>
          <p:cNvSpPr/>
          <p:nvPr/>
        </p:nvSpPr>
        <p:spPr>
          <a:xfrm>
            <a:off x="923821" y="2571750"/>
            <a:ext cx="2117159" cy="754022"/>
          </a:xfrm>
          <a:prstGeom prst="wedgeEllipseCallout">
            <a:avLst>
              <a:gd name="adj1" fmla="val -40513"/>
              <a:gd name="adj2" fmla="val -130397"/>
            </a:avLst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>
                <a:solidFill>
                  <a:schemeClr val="bg1"/>
                </a:solidFill>
                <a:latin typeface="Maven Pro" panose="020B0604020202020204" charset="0"/>
              </a:rPr>
              <a:t>Zu integrierter </a:t>
            </a:r>
            <a:r>
              <a:rPr lang="de-DE" sz="700" dirty="0" err="1">
                <a:latin typeface="Maven Pro" panose="020B0604020202020204" charset="0"/>
              </a:rPr>
              <a:t>RapidMiner</a:t>
            </a:r>
            <a:r>
              <a:rPr lang="de-DE" sz="700" dirty="0">
                <a:latin typeface="Maven Pro" panose="020B0604020202020204" charset="0"/>
              </a:rPr>
              <a:t> Table geändert</a:t>
            </a:r>
            <a:endParaRPr lang="de-DE" sz="700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1789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48945FC8-1805-E1A9-4EB6-11B26680CA47}"/>
              </a:ext>
            </a:extLst>
          </p:cNvPr>
          <p:cNvSpPr/>
          <p:nvPr/>
        </p:nvSpPr>
        <p:spPr>
          <a:xfrm>
            <a:off x="727972" y="4602746"/>
            <a:ext cx="1918730" cy="316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1DA5C01-3ABE-92BE-6F49-0EB28B2DDE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odeling - </a:t>
            </a:r>
            <a:r>
              <a:rPr lang="de-DE" dirty="0" err="1"/>
              <a:t>Process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E208364-3C5B-FC43-C753-E1DCEEBC3CB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066" r="3323"/>
          <a:stretch/>
        </p:blipFill>
        <p:spPr>
          <a:xfrm>
            <a:off x="727973" y="1117408"/>
            <a:ext cx="1918730" cy="3485338"/>
          </a:xfrm>
          <a:prstGeom prst="rect">
            <a:avLst/>
          </a:prstGeom>
        </p:spPr>
      </p:pic>
      <p:sp>
        <p:nvSpPr>
          <p:cNvPr id="6" name="Parallelogramm 5">
            <a:extLst>
              <a:ext uri="{FF2B5EF4-FFF2-40B4-BE49-F238E27FC236}">
                <a16:creationId xmlns:a16="http://schemas.microsoft.com/office/drawing/2014/main" id="{B4472444-9159-2203-29BA-11F156DF4A6C}"/>
              </a:ext>
            </a:extLst>
          </p:cNvPr>
          <p:cNvSpPr/>
          <p:nvPr/>
        </p:nvSpPr>
        <p:spPr>
          <a:xfrm>
            <a:off x="727972" y="989475"/>
            <a:ext cx="1954903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Operators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399D649-5B39-6EB3-F971-22F9B5B64A3F}"/>
              </a:ext>
            </a:extLst>
          </p:cNvPr>
          <p:cNvSpPr/>
          <p:nvPr/>
        </p:nvSpPr>
        <p:spPr>
          <a:xfrm>
            <a:off x="3132657" y="989477"/>
            <a:ext cx="5312843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Hyper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Parameters after iterative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tuning</a:t>
            </a:r>
            <a:endParaRPr lang="de-DE" sz="800" dirty="0">
              <a:solidFill>
                <a:srgbClr val="000000"/>
              </a:solidFill>
              <a:latin typeface="Maven Pro" panose="020B060402020202020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C80A-0ED7-6F24-172C-48E2C321491D}"/>
              </a:ext>
            </a:extLst>
          </p:cNvPr>
          <p:cNvSpPr/>
          <p:nvPr/>
        </p:nvSpPr>
        <p:spPr>
          <a:xfrm>
            <a:off x="3132657" y="1117409"/>
            <a:ext cx="5279823" cy="3801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N: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Required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number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of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rules</a:t>
            </a:r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T: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Metric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type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by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which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to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rank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rules</a:t>
            </a:r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C: The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minimum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confidence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of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a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rule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– Dieser Hyperparameter hat einen großen </a:t>
            </a:r>
          </a:p>
          <a:p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    Einfluss auf die Anzahl der erstellten Regeln</a:t>
            </a:r>
          </a:p>
          <a:p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D: Delta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by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which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the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minimum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support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is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decreased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in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each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iteration</a:t>
            </a:r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U &amp; M: Upper and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lower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bounds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for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minimum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support</a:t>
            </a:r>
          </a:p>
          <a:p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S: Rules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testing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for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significance</a:t>
            </a:r>
            <a:endParaRPr 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…</a:t>
            </a:r>
          </a:p>
          <a:p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Input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format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: „Items in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dummy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coded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columns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“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required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, weil unser Pivot Operator jedes Item in einer separaten Spalte mit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binominalen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Fällen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true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oder </a:t>
            </a:r>
            <a:r>
              <a:rPr lang="de-DE" sz="700" dirty="0" err="1">
                <a:solidFill>
                  <a:srgbClr val="000000"/>
                </a:solidFill>
                <a:latin typeface="Maven Pro" panose="020B0604020202020204" charset="0"/>
              </a:rPr>
              <a:t>false</a:t>
            </a:r>
            <a:r>
              <a:rPr lang="de-DE" sz="700" dirty="0">
                <a:solidFill>
                  <a:srgbClr val="000000"/>
                </a:solidFill>
                <a:latin typeface="Maven Pro" panose="020B0604020202020204" charset="0"/>
              </a:rPr>
              <a:t> geändert hat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2895DD7-F4F8-49D2-CA13-F67C771FD3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1563"/>
          <a:stretch/>
        </p:blipFill>
        <p:spPr>
          <a:xfrm>
            <a:off x="3182231" y="1172392"/>
            <a:ext cx="820955" cy="2290281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DC1A35-D9F0-971E-983A-51F94BBBC1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4077349" y="1172390"/>
            <a:ext cx="901566" cy="2289556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18" name="Pfeil: eingekerbt nach rechts 17">
            <a:extLst>
              <a:ext uri="{FF2B5EF4-FFF2-40B4-BE49-F238E27FC236}">
                <a16:creationId xmlns:a16="http://schemas.microsoft.com/office/drawing/2014/main" id="{A41A4475-F26D-A084-B8AF-9C82B2285371}"/>
              </a:ext>
            </a:extLst>
          </p:cNvPr>
          <p:cNvSpPr/>
          <p:nvPr/>
        </p:nvSpPr>
        <p:spPr>
          <a:xfrm>
            <a:off x="1868460" y="2507204"/>
            <a:ext cx="2251103" cy="149960"/>
          </a:xfrm>
          <a:prstGeom prst="notchedRightArrow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feil: eingekerbt nach rechts 18">
            <a:extLst>
              <a:ext uri="{FF2B5EF4-FFF2-40B4-BE49-F238E27FC236}">
                <a16:creationId xmlns:a16="http://schemas.microsoft.com/office/drawing/2014/main" id="{5D33DD1D-CFD4-DF0B-3BE7-59E66FD5E6A2}"/>
              </a:ext>
            </a:extLst>
          </p:cNvPr>
          <p:cNvSpPr/>
          <p:nvPr/>
        </p:nvSpPr>
        <p:spPr>
          <a:xfrm>
            <a:off x="1870381" y="1837674"/>
            <a:ext cx="1465502" cy="149960"/>
          </a:xfrm>
          <a:prstGeom prst="notchedRightArrow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218ECCC9-7C32-DE92-6C4B-E575D9E3E9B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r="1625"/>
          <a:stretch/>
        </p:blipFill>
        <p:spPr>
          <a:xfrm>
            <a:off x="5039355" y="1172390"/>
            <a:ext cx="835752" cy="2289556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EA9A42FC-0EBA-ED8A-FFD3-1B6D3BE498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5698" y="1172388"/>
            <a:ext cx="2010827" cy="2289556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E2664C94-388C-E72E-7D90-304118075B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15411" y="3516922"/>
            <a:ext cx="1111114" cy="985989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26" name="Pfeil: eingekerbt nach rechts 25">
            <a:extLst>
              <a:ext uri="{FF2B5EF4-FFF2-40B4-BE49-F238E27FC236}">
                <a16:creationId xmlns:a16="http://schemas.microsoft.com/office/drawing/2014/main" id="{23F8EE0E-45BC-1ED0-CC27-AA052BDB5A8B}"/>
              </a:ext>
            </a:extLst>
          </p:cNvPr>
          <p:cNvSpPr/>
          <p:nvPr/>
        </p:nvSpPr>
        <p:spPr>
          <a:xfrm>
            <a:off x="1826246" y="3227468"/>
            <a:ext cx="3279154" cy="149960"/>
          </a:xfrm>
          <a:prstGeom prst="notchedRightArrow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30AE04D-B1C2-5FA9-944D-5BCA00EA84E8}"/>
              </a:ext>
            </a:extLst>
          </p:cNvPr>
          <p:cNvGrpSpPr/>
          <p:nvPr/>
        </p:nvGrpSpPr>
        <p:grpSpPr>
          <a:xfrm>
            <a:off x="2437771" y="3388865"/>
            <a:ext cx="4344619" cy="433213"/>
            <a:chOff x="2437771" y="3388865"/>
            <a:chExt cx="4344619" cy="433213"/>
          </a:xfrm>
        </p:grpSpPr>
        <p:sp>
          <p:nvSpPr>
            <p:cNvPr id="27" name="Pfeil: eingekerbt nach rechts 26">
              <a:extLst>
                <a:ext uri="{FF2B5EF4-FFF2-40B4-BE49-F238E27FC236}">
                  <a16:creationId xmlns:a16="http://schemas.microsoft.com/office/drawing/2014/main" id="{5F674A43-633E-E9AF-8263-2B7C63066E3A}"/>
                </a:ext>
              </a:extLst>
            </p:cNvPr>
            <p:cNvSpPr/>
            <p:nvPr/>
          </p:nvSpPr>
          <p:spPr>
            <a:xfrm>
              <a:off x="2437771" y="3672118"/>
              <a:ext cx="4344619" cy="149960"/>
            </a:xfrm>
            <a:prstGeom prst="notchedRightArrow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Pfeil: eingekerbt nach rechts 27">
              <a:extLst>
                <a:ext uri="{FF2B5EF4-FFF2-40B4-BE49-F238E27FC236}">
                  <a16:creationId xmlns:a16="http://schemas.microsoft.com/office/drawing/2014/main" id="{C2CA6D77-672F-EB79-45BF-0EBB4479D4C8}"/>
                </a:ext>
              </a:extLst>
            </p:cNvPr>
            <p:cNvSpPr/>
            <p:nvPr/>
          </p:nvSpPr>
          <p:spPr>
            <a:xfrm rot="16200000">
              <a:off x="5819009" y="3505403"/>
              <a:ext cx="383035" cy="149960"/>
            </a:xfrm>
            <a:prstGeom prst="notchedRightArrow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0" name="Sprechblase: oval 29">
            <a:extLst>
              <a:ext uri="{FF2B5EF4-FFF2-40B4-BE49-F238E27FC236}">
                <a16:creationId xmlns:a16="http://schemas.microsoft.com/office/drawing/2014/main" id="{8901085D-D066-FC69-E06B-8141B2D733DB}"/>
              </a:ext>
            </a:extLst>
          </p:cNvPr>
          <p:cNvSpPr/>
          <p:nvPr/>
        </p:nvSpPr>
        <p:spPr>
          <a:xfrm>
            <a:off x="485335" y="4165331"/>
            <a:ext cx="2696897" cy="754022"/>
          </a:xfrm>
          <a:prstGeom prst="wedgeEllipseCallout">
            <a:avLst>
              <a:gd name="adj1" fmla="val 50363"/>
              <a:gd name="adj2" fmla="val -79090"/>
            </a:avLst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>
                <a:solidFill>
                  <a:schemeClr val="bg1"/>
                </a:solidFill>
                <a:latin typeface="Maven Pro" panose="020B0604020202020204" charset="0"/>
              </a:rPr>
              <a:t>Für unseren speziellen Datensatz mussten wir jeden einzelnen Hyperparameter von den Standardwerten auf verschiedene Werte ändern und abstimmen, bis wir die gewünschten Regelergebnisse erzielten</a:t>
            </a:r>
          </a:p>
        </p:txBody>
      </p:sp>
    </p:spTree>
    <p:extLst>
      <p:ext uri="{BB962C8B-B14F-4D97-AF65-F5344CB8AC3E}">
        <p14:creationId xmlns:p14="http://schemas.microsoft.com/office/powerpoint/2010/main" val="9144950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48945FC8-1805-E1A9-4EB6-11B26680CA47}"/>
              </a:ext>
            </a:extLst>
          </p:cNvPr>
          <p:cNvSpPr/>
          <p:nvPr/>
        </p:nvSpPr>
        <p:spPr>
          <a:xfrm>
            <a:off x="727972" y="4602746"/>
            <a:ext cx="1918730" cy="316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1DA5C01-3ABE-92BE-6F49-0EB28B2DDE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odeling - </a:t>
            </a:r>
            <a:r>
              <a:rPr lang="de-DE" dirty="0" err="1"/>
              <a:t>Process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E208364-3C5B-FC43-C753-E1DCEEBC3CB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066" r="3323"/>
          <a:stretch/>
        </p:blipFill>
        <p:spPr>
          <a:xfrm>
            <a:off x="727973" y="1117408"/>
            <a:ext cx="1918730" cy="3485338"/>
          </a:xfrm>
          <a:prstGeom prst="rect">
            <a:avLst/>
          </a:prstGeom>
        </p:spPr>
      </p:pic>
      <p:sp>
        <p:nvSpPr>
          <p:cNvPr id="6" name="Parallelogramm 5">
            <a:extLst>
              <a:ext uri="{FF2B5EF4-FFF2-40B4-BE49-F238E27FC236}">
                <a16:creationId xmlns:a16="http://schemas.microsoft.com/office/drawing/2014/main" id="{B4472444-9159-2203-29BA-11F156DF4A6C}"/>
              </a:ext>
            </a:extLst>
          </p:cNvPr>
          <p:cNvSpPr/>
          <p:nvPr/>
        </p:nvSpPr>
        <p:spPr>
          <a:xfrm>
            <a:off x="727972" y="989475"/>
            <a:ext cx="1954903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Operators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399D649-5B39-6EB3-F971-22F9B5B64A3F}"/>
              </a:ext>
            </a:extLst>
          </p:cNvPr>
          <p:cNvSpPr/>
          <p:nvPr/>
        </p:nvSpPr>
        <p:spPr>
          <a:xfrm>
            <a:off x="3132657" y="989477"/>
            <a:ext cx="5312843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Execution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results</a:t>
            </a:r>
            <a:endParaRPr lang="de-DE" sz="800" dirty="0">
              <a:solidFill>
                <a:srgbClr val="000000"/>
              </a:solidFill>
              <a:latin typeface="Maven Pro" panose="020B060402020202020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C80A-0ED7-6F24-172C-48E2C321491D}"/>
              </a:ext>
            </a:extLst>
          </p:cNvPr>
          <p:cNvSpPr/>
          <p:nvPr/>
        </p:nvSpPr>
        <p:spPr>
          <a:xfrm>
            <a:off x="3132657" y="1117409"/>
            <a:ext cx="5279823" cy="3801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700" b="1" dirty="0" err="1">
                <a:solidFill>
                  <a:srgbClr val="000000"/>
                </a:solidFill>
                <a:latin typeface="Maven Pro" panose="020B0604020202020204" charset="0"/>
              </a:rPr>
              <a:t>Apriori</a:t>
            </a:r>
            <a:r>
              <a:rPr lang="en-US" sz="700" b="1" dirty="0">
                <a:solidFill>
                  <a:srgbClr val="000000"/>
                </a:solidFill>
                <a:latin typeface="Maven Pro" panose="020B0604020202020204" charset="0"/>
              </a:rPr>
              <a:t>:</a:t>
            </a:r>
          </a:p>
          <a:p>
            <a:r>
              <a:rPr lang="en-US" sz="700" dirty="0">
                <a:solidFill>
                  <a:srgbClr val="000000"/>
                </a:solidFill>
                <a:latin typeface="Maven Pro" panose="020B0604020202020204" charset="0"/>
              </a:rPr>
              <a:t>Minimum support: 0.02 (189 instances) Minimum metric &lt;lift&gt;: 0.01 </a:t>
            </a:r>
          </a:p>
          <a:p>
            <a:r>
              <a:rPr lang="en-US" sz="700" dirty="0">
                <a:solidFill>
                  <a:srgbClr val="000000"/>
                </a:solidFill>
                <a:latin typeface="Maven Pro" panose="020B0604020202020204" charset="0"/>
              </a:rPr>
              <a:t>Number of cycles performed: 20 Generated sets of large </a:t>
            </a:r>
            <a:r>
              <a:rPr lang="en-US" sz="700" dirty="0" err="1">
                <a:solidFill>
                  <a:srgbClr val="000000"/>
                </a:solidFill>
                <a:latin typeface="Maven Pro" panose="020B0604020202020204" charset="0"/>
              </a:rPr>
              <a:t>itemsets</a:t>
            </a:r>
            <a:r>
              <a:rPr lang="en-US" sz="700" dirty="0">
                <a:solidFill>
                  <a:srgbClr val="000000"/>
                </a:solidFill>
                <a:latin typeface="Maven Pro" panose="020B0604020202020204" charset="0"/>
              </a:rPr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000000"/>
                </a:solidFill>
                <a:latin typeface="Maven Pro" panose="020B0604020202020204" charset="0"/>
              </a:rPr>
              <a:t>Size of set of large </a:t>
            </a:r>
            <a:r>
              <a:rPr lang="en-US" sz="700" dirty="0" err="1">
                <a:solidFill>
                  <a:srgbClr val="000000"/>
                </a:solidFill>
                <a:latin typeface="Maven Pro" panose="020B0604020202020204" charset="0"/>
              </a:rPr>
              <a:t>itemsets</a:t>
            </a:r>
            <a:r>
              <a:rPr lang="en-US" sz="700" dirty="0">
                <a:solidFill>
                  <a:srgbClr val="000000"/>
                </a:solidFill>
                <a:latin typeface="Maven Pro" panose="020B0604020202020204" charset="0"/>
              </a:rPr>
              <a:t> L(1): 19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000000"/>
                </a:solidFill>
                <a:latin typeface="Maven Pro" panose="020B0604020202020204" charset="0"/>
              </a:rPr>
              <a:t>Size of set of large </a:t>
            </a:r>
            <a:r>
              <a:rPr lang="en-US" sz="700" dirty="0" err="1">
                <a:solidFill>
                  <a:srgbClr val="000000"/>
                </a:solidFill>
                <a:latin typeface="Maven Pro" panose="020B0604020202020204" charset="0"/>
              </a:rPr>
              <a:t>itemsets</a:t>
            </a:r>
            <a:r>
              <a:rPr lang="en-US" sz="700" dirty="0">
                <a:solidFill>
                  <a:srgbClr val="000000"/>
                </a:solidFill>
                <a:latin typeface="Maven Pro" panose="020B0604020202020204" charset="0"/>
              </a:rPr>
              <a:t> L(2): 14 </a:t>
            </a:r>
          </a:p>
          <a:p>
            <a:r>
              <a:rPr lang="en-US" sz="700" dirty="0">
                <a:solidFill>
                  <a:srgbClr val="000000"/>
                </a:solidFill>
                <a:latin typeface="Maven Pro" panose="020B0604020202020204" charset="0"/>
              </a:rPr>
              <a:t>Best rules found:</a:t>
            </a:r>
          </a:p>
          <a:p>
            <a:pPr marL="228600" indent="-228600">
              <a:buAutoNum type="arabicPeriod"/>
            </a:pP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Cake=</a:t>
            </a:r>
            <a:r>
              <a:rPr lang="de-DE" altLang="de-DE" sz="700" b="1" dirty="0" err="1">
                <a:solidFill>
                  <a:srgbClr val="000000"/>
                </a:solidFill>
                <a:latin typeface="Maven Pro" panose="020B0604020202020204" charset="0"/>
              </a:rPr>
              <a:t>true</a:t>
            </a: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983 ==&gt; </a:t>
            </a: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Tea=</a:t>
            </a:r>
            <a:r>
              <a:rPr lang="de-DE" altLang="de-DE" sz="700" b="1" dirty="0" err="1">
                <a:solidFill>
                  <a:srgbClr val="000000"/>
                </a:solidFill>
                <a:latin typeface="Maven Pro" panose="020B0604020202020204" charset="0"/>
              </a:rPr>
              <a:t>true</a:t>
            </a: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225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conf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0.23) &lt;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lift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1.6)&gt;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lev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0.01) [84]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conv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1.11) </a:t>
            </a:r>
          </a:p>
          <a:p>
            <a:pPr marL="228600" indent="-228600">
              <a:buAutoNum type="arabicPeriod"/>
            </a:pP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Tea=</a:t>
            </a:r>
            <a:r>
              <a:rPr lang="de-DE" altLang="de-DE" sz="700" b="1" dirty="0" err="1">
                <a:solidFill>
                  <a:srgbClr val="000000"/>
                </a:solidFill>
                <a:latin typeface="Maven Pro" panose="020B0604020202020204" charset="0"/>
              </a:rPr>
              <a:t>true</a:t>
            </a: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1350 ==&gt; </a:t>
            </a: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Cake=</a:t>
            </a:r>
            <a:r>
              <a:rPr lang="de-DE" altLang="de-DE" sz="700" b="1" dirty="0" err="1">
                <a:solidFill>
                  <a:srgbClr val="000000"/>
                </a:solidFill>
                <a:latin typeface="Maven Pro" panose="020B0604020202020204" charset="0"/>
              </a:rPr>
              <a:t>true</a:t>
            </a: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225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conf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0.17) &lt;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lift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1.6)&gt;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lev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0.01) [84]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conv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1.07) </a:t>
            </a:r>
          </a:p>
          <a:p>
            <a:pPr marL="228600" indent="-228600">
              <a:buAutoNum type="arabicPeriod"/>
            </a:pP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Coffee=</a:t>
            </a:r>
            <a:r>
              <a:rPr lang="de-DE" altLang="de-DE" sz="700" b="1" dirty="0" err="1">
                <a:solidFill>
                  <a:srgbClr val="000000"/>
                </a:solidFill>
                <a:latin typeface="Maven Pro" panose="020B0604020202020204" charset="0"/>
              </a:rPr>
              <a:t>true</a:t>
            </a: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4528 ==&gt; </a:t>
            </a: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Toast=</a:t>
            </a:r>
            <a:r>
              <a:rPr lang="de-DE" altLang="de-DE" sz="700" b="1" dirty="0" err="1">
                <a:solidFill>
                  <a:srgbClr val="000000"/>
                </a:solidFill>
                <a:latin typeface="Maven Pro" panose="020B0604020202020204" charset="0"/>
              </a:rPr>
              <a:t>true</a:t>
            </a:r>
            <a:r>
              <a:rPr lang="de-DE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224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conf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0.05) &lt;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lift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1.47)&gt;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lev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0.01) [71] </a:t>
            </a:r>
            <a:r>
              <a:rPr lang="de-DE" altLang="de-DE" sz="700" dirty="0" err="1">
                <a:solidFill>
                  <a:srgbClr val="000000"/>
                </a:solidFill>
                <a:latin typeface="Maven Pro" panose="020B0604020202020204" charset="0"/>
              </a:rPr>
              <a:t>conv</a:t>
            </a:r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:(1.02)</a:t>
            </a:r>
          </a:p>
          <a:p>
            <a:r>
              <a:rPr lang="de-DE" altLang="de-DE" sz="700" dirty="0">
                <a:solidFill>
                  <a:srgbClr val="000000"/>
                </a:solidFill>
                <a:latin typeface="Maven Pro" panose="020B0604020202020204" charset="0"/>
              </a:rPr>
              <a:t>…</a:t>
            </a:r>
          </a:p>
          <a:p>
            <a:pPr marL="228600" indent="-228600">
              <a:buAutoNum type="arabicPeriod" startAt="28"/>
            </a:pP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Coffee=true 4528 ==&gt; Bread=true 852 conf:(0.19) &lt; lift:(0.58)&gt; lev:(-0.07) [-629] conv:(0.83)</a:t>
            </a:r>
          </a:p>
          <a:p>
            <a:pPr marL="228600" indent="-228600">
              <a:buAutoNum type="arabicPeriod" startAt="28"/>
            </a:pPr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pPr marL="228600" indent="-228600">
              <a:buAutoNum type="arabicPeriod" startAt="28"/>
            </a:pPr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pPr marL="228600" indent="-228600">
              <a:buAutoNum type="arabicPeriod" startAt="28"/>
            </a:pPr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pPr marL="228600" indent="-228600">
              <a:buAutoNum type="arabicPeriod" startAt="28"/>
            </a:pPr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r>
              <a:rPr lang="en-US" altLang="de-DE" sz="700" b="1" dirty="0" err="1">
                <a:solidFill>
                  <a:srgbClr val="000000"/>
                </a:solidFill>
                <a:latin typeface="Maven Pro" panose="020B0604020202020204" charset="0"/>
              </a:rPr>
              <a:t>PredictiveApriori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:</a:t>
            </a:r>
          </a:p>
          <a:p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Best rules found: </a:t>
            </a:r>
          </a:p>
          <a:p>
            <a:pPr marL="228600" indent="-228600">
              <a:buAutoNum type="arabicPeriod"/>
            </a:pP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Cake=true </a:t>
            </a:r>
            <a:r>
              <a:rPr lang="en-US" altLang="de-DE" sz="700" b="1" dirty="0">
                <a:solidFill>
                  <a:srgbClr val="00CFCC"/>
                </a:solidFill>
                <a:latin typeface="Maven Pro" panose="020B0604020202020204" charset="0"/>
              </a:rPr>
              <a:t>Hearty &amp; Seasonal=true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7 ==&gt;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Coffee=true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7 acc:(0.88883) </a:t>
            </a:r>
          </a:p>
          <a:p>
            <a:pPr marL="228600" indent="-228600">
              <a:buAutoNum type="arabicPeriod"/>
            </a:pP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Extra Salami or Feta=true </a:t>
            </a:r>
            <a:r>
              <a:rPr lang="en-US" altLang="de-DE" sz="700" dirty="0">
                <a:solidFill>
                  <a:srgbClr val="00CFCC"/>
                </a:solidFill>
                <a:latin typeface="Maven Pro" panose="020B0604020202020204" charset="0"/>
              </a:rPr>
              <a:t>Toast=true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6</a:t>
            </a:r>
            <a:r>
              <a:rPr lang="en-US" altLang="de-DE" sz="700" dirty="0">
                <a:solidFill>
                  <a:srgbClr val="00CFCC"/>
                </a:solidFill>
                <a:latin typeface="Maven Pro" panose="020B0604020202020204" charset="0"/>
              </a:rPr>
              <a:t>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==&gt;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Coffee=true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6 acc:(0.87495) </a:t>
            </a:r>
          </a:p>
          <a:p>
            <a:pPr marL="228600" indent="-228600">
              <a:buAutoNum type="arabicPeriod"/>
            </a:pP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Farm House=true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en-US" altLang="de-DE" sz="700" dirty="0">
                <a:solidFill>
                  <a:srgbClr val="00CFCC"/>
                </a:solidFill>
                <a:latin typeface="Maven Pro" panose="020B0604020202020204" charset="0"/>
              </a:rPr>
              <a:t>Toast=true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6</a:t>
            </a:r>
            <a:r>
              <a:rPr lang="en-US" altLang="de-DE" sz="700" dirty="0">
                <a:solidFill>
                  <a:srgbClr val="00CFCC"/>
                </a:solidFill>
                <a:latin typeface="Maven Pro" panose="020B0604020202020204" charset="0"/>
              </a:rPr>
              <a:t>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==&gt;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Coffee=true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6 acc:(0.87495) </a:t>
            </a:r>
          </a:p>
          <a:p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…</a:t>
            </a:r>
          </a:p>
          <a:p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50.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Bakewell=true</a:t>
            </a:r>
            <a:r>
              <a:rPr lang="en-US" altLang="de-DE" sz="700" b="1" dirty="0">
                <a:solidFill>
                  <a:srgbClr val="00CFCC"/>
                </a:solidFill>
                <a:latin typeface="Maven Pro" panose="020B0604020202020204" charset="0"/>
              </a:rPr>
              <a:t> </a:t>
            </a:r>
            <a:r>
              <a:rPr lang="en-US" altLang="de-DE" sz="700" dirty="0">
                <a:solidFill>
                  <a:srgbClr val="00CFCC"/>
                </a:solidFill>
                <a:latin typeface="Maven Pro" panose="020B0604020202020204" charset="0"/>
              </a:rPr>
              <a:t>Juice=true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5</a:t>
            </a:r>
            <a:r>
              <a:rPr lang="en-US" altLang="de-DE" sz="700" dirty="0">
                <a:solidFill>
                  <a:srgbClr val="00CFCC"/>
                </a:solidFill>
                <a:latin typeface="Maven Pro" panose="020B0604020202020204" charset="0"/>
              </a:rPr>
              <a:t>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==&gt;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Coffee=true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4 acc:(0.71432) </a:t>
            </a:r>
          </a:p>
          <a:p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Weka-</a:t>
            </a:r>
            <a:r>
              <a:rPr lang="en-US" altLang="de-DE" sz="700" b="1" dirty="0" err="1">
                <a:solidFill>
                  <a:srgbClr val="000000"/>
                </a:solidFill>
                <a:latin typeface="Maven Pro" panose="020B0604020202020204" charset="0"/>
              </a:rPr>
              <a:t>FPGrowth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:</a:t>
            </a:r>
          </a:p>
          <a:p>
            <a:pPr marL="228600" indent="-228600">
              <a:buAutoNum type="arabicPeriod"/>
            </a:pP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[Tea=true]: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1350 ==&gt;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[Cake=true]: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 225 conf:(0.17) &lt;lift:(1.6)&gt; lev:(0.01) conv:(1.07) </a:t>
            </a:r>
          </a:p>
          <a:p>
            <a:pPr marL="228600" indent="-228600">
              <a:buAutoNum type="arabicPeriod"/>
            </a:pP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[Cake=true]: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983 ==&gt;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[Tea=true]: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 225 conf:(0.23) &lt;lift:(1.6)&gt; lev:(0.01) conv:(1.11) </a:t>
            </a:r>
          </a:p>
          <a:p>
            <a:pPr marL="228600" indent="-228600">
              <a:buAutoNum type="arabicPeriod"/>
            </a:pP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[Coffee=true]: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 4528 ==&gt;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[Toast=true]: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224 conf:(0.05) &lt;lift:(1.47)&gt; lev:(0.01) conv:(1.02) </a:t>
            </a:r>
          </a:p>
          <a:p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…</a:t>
            </a:r>
          </a:p>
          <a:p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28.   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[Bread=true]: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3097 ==&gt; </a:t>
            </a:r>
            <a:r>
              <a:rPr lang="en-US" altLang="de-DE" sz="700" b="1" dirty="0">
                <a:solidFill>
                  <a:srgbClr val="000000"/>
                </a:solidFill>
                <a:latin typeface="Maven Pro" panose="020B0604020202020204" charset="0"/>
              </a:rPr>
              <a:t>[Coffee=true]: </a:t>
            </a:r>
            <a:r>
              <a:rPr lang="en-US" altLang="de-DE" sz="700" dirty="0">
                <a:solidFill>
                  <a:srgbClr val="000000"/>
                </a:solidFill>
                <a:latin typeface="Maven Pro" panose="020B0604020202020204" charset="0"/>
              </a:rPr>
              <a:t>852 conf:(0.28) &lt;lift:(0.58)&gt; lev:(-0.07) conv:(0.72) </a:t>
            </a:r>
          </a:p>
          <a:p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700" dirty="0">
              <a:solidFill>
                <a:srgbClr val="000000"/>
              </a:solidFill>
              <a:latin typeface="Maven Pro" panose="020B0604020202020204" charset="0"/>
            </a:endParaRPr>
          </a:p>
        </p:txBody>
      </p:sp>
      <p:sp>
        <p:nvSpPr>
          <p:cNvPr id="18" name="Pfeil: eingekerbt nach rechts 17">
            <a:extLst>
              <a:ext uri="{FF2B5EF4-FFF2-40B4-BE49-F238E27FC236}">
                <a16:creationId xmlns:a16="http://schemas.microsoft.com/office/drawing/2014/main" id="{A41A4475-F26D-A084-B8AF-9C82B2285371}"/>
              </a:ext>
            </a:extLst>
          </p:cNvPr>
          <p:cNvSpPr/>
          <p:nvPr/>
        </p:nvSpPr>
        <p:spPr>
          <a:xfrm rot="500525">
            <a:off x="1873225" y="2625543"/>
            <a:ext cx="1308128" cy="149960"/>
          </a:xfrm>
          <a:prstGeom prst="notchedRightArrow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feil: eingekerbt nach rechts 18">
            <a:extLst>
              <a:ext uri="{FF2B5EF4-FFF2-40B4-BE49-F238E27FC236}">
                <a16:creationId xmlns:a16="http://schemas.microsoft.com/office/drawing/2014/main" id="{5D33DD1D-CFD4-DF0B-3BE7-59E66FD5E6A2}"/>
              </a:ext>
            </a:extLst>
          </p:cNvPr>
          <p:cNvSpPr/>
          <p:nvPr/>
        </p:nvSpPr>
        <p:spPr>
          <a:xfrm rot="20123932">
            <a:off x="1790946" y="1481251"/>
            <a:ext cx="1465502" cy="149960"/>
          </a:xfrm>
          <a:prstGeom prst="notchedRightArrow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Pfeil: eingekerbt nach rechts 25">
            <a:extLst>
              <a:ext uri="{FF2B5EF4-FFF2-40B4-BE49-F238E27FC236}">
                <a16:creationId xmlns:a16="http://schemas.microsoft.com/office/drawing/2014/main" id="{23F8EE0E-45BC-1ED0-CC27-AA052BDB5A8B}"/>
              </a:ext>
            </a:extLst>
          </p:cNvPr>
          <p:cNvSpPr/>
          <p:nvPr/>
        </p:nvSpPr>
        <p:spPr>
          <a:xfrm rot="1734562">
            <a:off x="1751188" y="3575167"/>
            <a:ext cx="1532646" cy="149960"/>
          </a:xfrm>
          <a:prstGeom prst="notchedRightArrow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8B13DD7-8BF1-DB09-D20D-9A2AB088BDFE}"/>
              </a:ext>
            </a:extLst>
          </p:cNvPr>
          <p:cNvGrpSpPr/>
          <p:nvPr/>
        </p:nvGrpSpPr>
        <p:grpSpPr>
          <a:xfrm>
            <a:off x="3185310" y="1806457"/>
            <a:ext cx="5193053" cy="2724756"/>
            <a:chOff x="3185310" y="1806457"/>
            <a:chExt cx="5193053" cy="2724756"/>
          </a:xfrm>
        </p:grpSpPr>
        <p:sp>
          <p:nvSpPr>
            <p:cNvPr id="22" name="Rechteck: abgerundete Ecken 21">
              <a:extLst>
                <a:ext uri="{FF2B5EF4-FFF2-40B4-BE49-F238E27FC236}">
                  <a16:creationId xmlns:a16="http://schemas.microsoft.com/office/drawing/2014/main" id="{A8BFD0AE-930E-7F05-CFA9-1414D0A67815}"/>
                </a:ext>
              </a:extLst>
            </p:cNvPr>
            <p:cNvSpPr/>
            <p:nvPr/>
          </p:nvSpPr>
          <p:spPr>
            <a:xfrm>
              <a:off x="3185310" y="1806457"/>
              <a:ext cx="4060039" cy="377190"/>
            </a:xfrm>
            <a:prstGeom prst="roundRect">
              <a:avLst/>
            </a:prstGeom>
            <a:noFill/>
            <a:ln>
              <a:solidFill>
                <a:srgbClr val="F649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CB53A8D1-6256-A65C-858B-31D58F57DAAE}"/>
                </a:ext>
              </a:extLst>
            </p:cNvPr>
            <p:cNvSpPr/>
            <p:nvPr/>
          </p:nvSpPr>
          <p:spPr>
            <a:xfrm>
              <a:off x="3407560" y="4154023"/>
              <a:ext cx="4060039" cy="377190"/>
            </a:xfrm>
            <a:prstGeom prst="roundRect">
              <a:avLst/>
            </a:prstGeom>
            <a:noFill/>
            <a:ln>
              <a:solidFill>
                <a:srgbClr val="F649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3ECCBDF3-3A9B-F923-166D-F86569C18165}"/>
                </a:ext>
              </a:extLst>
            </p:cNvPr>
            <p:cNvSpPr txBox="1"/>
            <p:nvPr/>
          </p:nvSpPr>
          <p:spPr>
            <a:xfrm>
              <a:off x="6854363" y="3113940"/>
              <a:ext cx="1524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>
                  <a:latin typeface="Maven Pro" panose="020B0604020202020204" charset="0"/>
                </a:rPr>
                <a:t>Deckungsgleiche Ergebnisse (Bei </a:t>
              </a:r>
              <a:r>
                <a:rPr lang="de-DE" sz="800" dirty="0" err="1">
                  <a:latin typeface="Maven Pro" panose="020B0604020202020204" charset="0"/>
                </a:rPr>
                <a:t>Weka</a:t>
              </a:r>
              <a:r>
                <a:rPr lang="de-DE" sz="800" dirty="0">
                  <a:latin typeface="Maven Pro" panose="020B0604020202020204" charset="0"/>
                </a:rPr>
                <a:t> Operatoren)</a:t>
              </a:r>
            </a:p>
          </p:txBody>
        </p: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ADD7AB8E-4C40-645B-EF89-50097A7C0814}"/>
                </a:ext>
              </a:extLst>
            </p:cNvPr>
            <p:cNvCxnSpPr>
              <a:cxnSpLocks/>
              <a:stCxn id="32" idx="0"/>
            </p:cNvCxnSpPr>
            <p:nvPr/>
          </p:nvCxnSpPr>
          <p:spPr>
            <a:xfrm flipH="1" flipV="1">
              <a:off x="7298002" y="2029560"/>
              <a:ext cx="318361" cy="1084380"/>
            </a:xfrm>
            <a:prstGeom prst="straightConnector1">
              <a:avLst/>
            </a:prstGeom>
            <a:ln>
              <a:solidFill>
                <a:srgbClr val="F6497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11372CA1-428A-26DB-C94D-09DF521983CB}"/>
                </a:ext>
              </a:extLst>
            </p:cNvPr>
            <p:cNvCxnSpPr>
              <a:cxnSpLocks/>
              <a:stCxn id="32" idx="2"/>
            </p:cNvCxnSpPr>
            <p:nvPr/>
          </p:nvCxnSpPr>
          <p:spPr>
            <a:xfrm flipH="1">
              <a:off x="7348804" y="3452494"/>
              <a:ext cx="267559" cy="633750"/>
            </a:xfrm>
            <a:prstGeom prst="straightConnector1">
              <a:avLst/>
            </a:prstGeom>
            <a:ln>
              <a:solidFill>
                <a:srgbClr val="F6497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5007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48945FC8-1805-E1A9-4EB6-11B26680CA47}"/>
              </a:ext>
            </a:extLst>
          </p:cNvPr>
          <p:cNvSpPr/>
          <p:nvPr/>
        </p:nvSpPr>
        <p:spPr>
          <a:xfrm>
            <a:off x="727972" y="4602746"/>
            <a:ext cx="1918730" cy="316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1DA5C01-3ABE-92BE-6F49-0EB28B2DDE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odeling - </a:t>
            </a:r>
            <a:r>
              <a:rPr lang="de-DE" dirty="0" err="1"/>
              <a:t>Process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E208364-3C5B-FC43-C753-E1DCEEBC3CB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066" r="3323"/>
          <a:stretch/>
        </p:blipFill>
        <p:spPr>
          <a:xfrm>
            <a:off x="727973" y="1117408"/>
            <a:ext cx="1918730" cy="3485338"/>
          </a:xfrm>
          <a:prstGeom prst="rect">
            <a:avLst/>
          </a:prstGeom>
        </p:spPr>
      </p:pic>
      <p:sp>
        <p:nvSpPr>
          <p:cNvPr id="6" name="Parallelogramm 5">
            <a:extLst>
              <a:ext uri="{FF2B5EF4-FFF2-40B4-BE49-F238E27FC236}">
                <a16:creationId xmlns:a16="http://schemas.microsoft.com/office/drawing/2014/main" id="{B4472444-9159-2203-29BA-11F156DF4A6C}"/>
              </a:ext>
            </a:extLst>
          </p:cNvPr>
          <p:cNvSpPr/>
          <p:nvPr/>
        </p:nvSpPr>
        <p:spPr>
          <a:xfrm>
            <a:off x="727972" y="989475"/>
            <a:ext cx="1954903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Operators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399D649-5B39-6EB3-F971-22F9B5B64A3F}"/>
              </a:ext>
            </a:extLst>
          </p:cNvPr>
          <p:cNvSpPr/>
          <p:nvPr/>
        </p:nvSpPr>
        <p:spPr>
          <a:xfrm>
            <a:off x="3132657" y="989477"/>
            <a:ext cx="5312843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Execution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results</a:t>
            </a:r>
            <a:endParaRPr lang="de-DE" sz="800" dirty="0">
              <a:solidFill>
                <a:srgbClr val="000000"/>
              </a:solidFill>
              <a:latin typeface="Maven Pro" panose="020B060402020202020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C80A-0ED7-6F24-172C-48E2C321491D}"/>
              </a:ext>
            </a:extLst>
          </p:cNvPr>
          <p:cNvSpPr/>
          <p:nvPr/>
        </p:nvSpPr>
        <p:spPr>
          <a:xfrm>
            <a:off x="3132657" y="1117409"/>
            <a:ext cx="5279823" cy="3801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endParaRPr lang="de-DE" altLang="de-DE" sz="700" dirty="0">
              <a:solidFill>
                <a:srgbClr val="000000"/>
              </a:solidFill>
              <a:latin typeface="Maven Pro" panose="020B060402020202020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700" dirty="0">
              <a:solidFill>
                <a:srgbClr val="000000"/>
              </a:solidFill>
              <a:latin typeface="Maven Pro" panose="020B060402020202020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29C650F-927F-946D-5C8C-873110C7EF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7433" y="1196606"/>
            <a:ext cx="5055810" cy="3168452"/>
          </a:xfrm>
          <a:prstGeom prst="rect">
            <a:avLst/>
          </a:prstGeom>
        </p:spPr>
      </p:pic>
      <p:sp>
        <p:nvSpPr>
          <p:cNvPr id="26" name="Pfeil: eingekerbt nach rechts 25">
            <a:extLst>
              <a:ext uri="{FF2B5EF4-FFF2-40B4-BE49-F238E27FC236}">
                <a16:creationId xmlns:a16="http://schemas.microsoft.com/office/drawing/2014/main" id="{23F8EE0E-45BC-1ED0-CC27-AA052BDB5A8B}"/>
              </a:ext>
            </a:extLst>
          </p:cNvPr>
          <p:cNvSpPr/>
          <p:nvPr/>
        </p:nvSpPr>
        <p:spPr>
          <a:xfrm rot="17821260">
            <a:off x="1459946" y="2309651"/>
            <a:ext cx="2507475" cy="192677"/>
          </a:xfrm>
          <a:prstGeom prst="notchedRightArrow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96B332B-5A1F-B6DD-DFED-B9CD9D8223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6995" y="2027568"/>
            <a:ext cx="4181036" cy="2614637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003664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rgbClr val="1A5E8F"/>
                </a:solidFill>
              </a:rPr>
              <a:t>Modeling</a:t>
            </a: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bg1"/>
                </a:solidFill>
              </a:rPr>
              <a:t>Results</a:t>
            </a:r>
            <a:endParaRPr lang="de-DE" dirty="0">
              <a:solidFill>
                <a:schemeClr val="bg1"/>
              </a:solidFill>
            </a:endParaRP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/>
              </a:solidFill>
            </a:endParaRPr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486;p27">
            <a:extLst>
              <a:ext uri="{FF2B5EF4-FFF2-40B4-BE49-F238E27FC236}">
                <a16:creationId xmlns:a16="http://schemas.microsoft.com/office/drawing/2014/main" id="{754B77A5-3E5D-1AE0-9B4A-84D1018A2B4F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87376" y="1815255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813598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509176" cy="577800"/>
          </a:xfrm>
        </p:spPr>
        <p:txBody>
          <a:bodyPr vert="horz"/>
          <a:lstStyle/>
          <a:p>
            <a:r>
              <a:rPr lang="de-DE" dirty="0" err="1"/>
              <a:t>Results</a:t>
            </a:r>
            <a:r>
              <a:rPr lang="de-DE" dirty="0"/>
              <a:t> – Beantwortung der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1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üße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2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Milch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Ergebni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b="1" dirty="0">
                <a:solidFill>
                  <a:srgbClr val="00CFCC"/>
                </a:solidFill>
                <a:latin typeface="Maven Pro" panose="020B0604020202020204" charset="0"/>
              </a:rPr>
              <a:t>Kuchen und Tee, </a:t>
            </a:r>
            <a:r>
              <a:rPr lang="en-US" b="1" dirty="0" err="1">
                <a:solidFill>
                  <a:srgbClr val="00CFCC"/>
                </a:solidFill>
                <a:latin typeface="Maven Pro" panose="020B0604020202020204" charset="0"/>
              </a:rPr>
              <a:t>Kaffee</a:t>
            </a:r>
            <a:r>
              <a:rPr lang="en-US" b="1" dirty="0">
                <a:solidFill>
                  <a:srgbClr val="00CFCC"/>
                </a:solidFill>
                <a:latin typeface="Maven Pro" panose="020B0604020202020204" charset="0"/>
              </a:rPr>
              <a:t> und Toast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i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tat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3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Zu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szei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4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m Morge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ib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es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uffälligkei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szahl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chiedli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nter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w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November und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brua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n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zeichne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ier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tätig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6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significan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einfluss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as Wetter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nzahl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ù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7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regner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r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7702274" y="1013014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Gemeinsam überarbeiten</a:t>
            </a:r>
          </a:p>
        </p:txBody>
      </p:sp>
    </p:spTree>
    <p:extLst>
      <p:ext uri="{BB962C8B-B14F-4D97-AF65-F5344CB8AC3E}">
        <p14:creationId xmlns:p14="http://schemas.microsoft.com/office/powerpoint/2010/main" val="7134258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24737"/>
            <a:ext cx="5644815" cy="1018708"/>
          </a:xfrm>
        </p:spPr>
        <p:txBody>
          <a:bodyPr vert="horz"/>
          <a:lstStyle/>
          <a:p>
            <a:br>
              <a:rPr lang="de-DE" dirty="0"/>
            </a:br>
            <a:br>
              <a:rPr lang="de-DE" dirty="0"/>
            </a:br>
            <a:r>
              <a:rPr lang="de-DE" dirty="0" err="1"/>
              <a:t>Results</a:t>
            </a:r>
            <a:r>
              <a:rPr lang="de-DE" dirty="0"/>
              <a:t> – </a:t>
            </a:r>
            <a:r>
              <a:rPr lang="de-DE" dirty="0" err="1"/>
              <a:t>Exampl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Business &amp; Marketing </a:t>
            </a:r>
            <a:r>
              <a:rPr lang="de-DE" dirty="0" err="1"/>
              <a:t>Recommendations</a:t>
            </a:r>
            <a:endParaRPr lang="de-DE" dirty="0"/>
          </a:p>
        </p:txBody>
      </p:sp>
      <p:pic>
        <p:nvPicPr>
          <p:cNvPr id="6146" name="Picture 2" descr="Bakery Marketing Ideas: 14 Ways to Get More Customers - Wishpond Blog">
            <a:extLst>
              <a:ext uri="{FF2B5EF4-FFF2-40B4-BE49-F238E27FC236}">
                <a16:creationId xmlns:a16="http://schemas.microsoft.com/office/drawing/2014/main" id="{6BF5EECE-5AC5-CF78-600F-36B0D46B51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02" y="1504827"/>
            <a:ext cx="2420691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New Year Cupcakes - Digital Marketing Campaign">
            <a:extLst>
              <a:ext uri="{FF2B5EF4-FFF2-40B4-BE49-F238E27FC236}">
                <a16:creationId xmlns:a16="http://schemas.microsoft.com/office/drawing/2014/main" id="{7F2AFFE6-7BF1-6F4D-D46B-5B2D4AE36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201" y="3153765"/>
            <a:ext cx="1861367" cy="1861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Bäckerei Flyer Vorlage-Vorlage | PosterMyWall">
            <a:extLst>
              <a:ext uri="{FF2B5EF4-FFF2-40B4-BE49-F238E27FC236}">
                <a16:creationId xmlns:a16="http://schemas.microsoft.com/office/drawing/2014/main" id="{1DCA73E0-AD0B-1E39-EDD8-91DF2FF44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5781" y="1398604"/>
            <a:ext cx="2364545" cy="3546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Cafe Flyer Templates - Design, Free, Download | Template.net">
            <a:extLst>
              <a:ext uri="{FF2B5EF4-FFF2-40B4-BE49-F238E27FC236}">
                <a16:creationId xmlns:a16="http://schemas.microsoft.com/office/drawing/2014/main" id="{BDA3B919-0AA6-B6B7-4C6A-0FF914B1B2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6512" y="1329396"/>
            <a:ext cx="2433783" cy="3152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1786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Betreiber einer Bäckerei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Muster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Diese Erkenntnisse möchte er in späteren Schritten nutzen, um gezielter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rgbClr val="1A5E8F"/>
                </a:solidFill>
              </a:rPr>
              <a:t>Modeling</a:t>
            </a: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rgbClr val="1A5E8F"/>
                </a:solidFill>
              </a:rPr>
              <a:t>Results</a:t>
            </a:r>
            <a:endParaRPr lang="de-DE" dirty="0">
              <a:solidFill>
                <a:srgbClr val="1A5E8F"/>
              </a:solidFill>
            </a:endParaRP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/>
              </a:solidFill>
            </a:endParaRPr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809A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bg1"/>
                  </a:solidFill>
                </a:rPr>
                <a:t>Reflection</a:t>
              </a:r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09AAC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486;p27">
            <a:extLst>
              <a:ext uri="{FF2B5EF4-FFF2-40B4-BE49-F238E27FC236}">
                <a16:creationId xmlns:a16="http://schemas.microsoft.com/office/drawing/2014/main" id="{754B77A5-3E5D-1AE0-9B4A-84D1018A2B4F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87376" y="1815255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6523705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426C357-F0B2-1221-7EB4-C528AD94DDF4}"/>
              </a:ext>
            </a:extLst>
          </p:cNvPr>
          <p:cNvSpPr/>
          <p:nvPr/>
        </p:nvSpPr>
        <p:spPr>
          <a:xfrm rot="1647492">
            <a:off x="5337020" y="1147971"/>
            <a:ext cx="2862756" cy="1435749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Umgang mit </a:t>
            </a:r>
            <a:r>
              <a:rPr lang="de-DE" dirty="0" err="1">
                <a:solidFill>
                  <a:srgbClr val="000000"/>
                </a:solidFill>
              </a:rPr>
              <a:t>RapidMiner</a:t>
            </a:r>
            <a:r>
              <a:rPr lang="de-DE" dirty="0">
                <a:solidFill>
                  <a:srgbClr val="000000"/>
                </a:solidFill>
              </a:rPr>
              <a:t> Tool Bugs und </a:t>
            </a:r>
            <a:r>
              <a:rPr lang="de-DE" dirty="0" err="1">
                <a:solidFill>
                  <a:srgbClr val="000000"/>
                </a:solidFill>
              </a:rPr>
              <a:t>troubleshooting</a:t>
            </a:r>
            <a:r>
              <a:rPr lang="de-DE" dirty="0">
                <a:solidFill>
                  <a:srgbClr val="000000"/>
                </a:solidFill>
              </a:rPr>
              <a:t> integrieren</a:t>
            </a:r>
          </a:p>
          <a:p>
            <a:pPr algn="ctr"/>
            <a:r>
              <a:rPr lang="de-DE" dirty="0" err="1">
                <a:solidFill>
                  <a:srgbClr val="000000"/>
                </a:solidFill>
              </a:rPr>
              <a:t>rapdimine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documentation</a:t>
            </a:r>
            <a:r>
              <a:rPr lang="de-DE" dirty="0">
                <a:solidFill>
                  <a:srgbClr val="000000"/>
                </a:solidFill>
              </a:rPr>
              <a:t>+ </a:t>
            </a:r>
            <a:r>
              <a:rPr lang="de-DE" dirty="0" err="1">
                <a:solidFill>
                  <a:srgbClr val="000000"/>
                </a:solidFill>
              </a:rPr>
              <a:t>rapidmine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community</a:t>
            </a:r>
            <a:r>
              <a:rPr lang="de-DE" dirty="0">
                <a:solidFill>
                  <a:srgbClr val="000000"/>
                </a:solidFill>
              </a:rPr>
              <a:t> als Support</a:t>
            </a:r>
          </a:p>
          <a:p>
            <a:pPr algn="ctr"/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aration</a:t>
            </a:r>
            <a:endParaRPr dirty="0"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/>
              <a:t>02</a:t>
            </a:r>
            <a:endParaRPr sz="2800" dirty="0"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3</a:t>
            </a:r>
            <a:endParaRPr sz="2800"/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080049" y="1669267"/>
            <a:ext cx="342119" cy="342486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2641084" y="1684660"/>
            <a:ext cx="342128" cy="343949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4192887" y="1684647"/>
            <a:ext cx="346044" cy="343968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/>
              <a:t>Results</a:t>
            </a:r>
            <a:endParaRPr lang="de-DE" dirty="0"/>
          </a:p>
          <a:p>
            <a:endParaRPr lang="de-DE" dirty="0"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/>
              <a:t>Data Modeling</a:t>
            </a: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0" name="Google Shape;490;p27">
            <a:extLst>
              <a:ext uri="{FF2B5EF4-FFF2-40B4-BE49-F238E27FC236}">
                <a16:creationId xmlns:a16="http://schemas.microsoft.com/office/drawing/2014/main" id="{2424E319-39FE-9E86-AE19-B42F05E5A346}"/>
              </a:ext>
            </a:extLst>
          </p:cNvPr>
          <p:cNvGrpSpPr/>
          <p:nvPr/>
        </p:nvGrpSpPr>
        <p:grpSpPr>
          <a:xfrm>
            <a:off x="5851495" y="1684660"/>
            <a:ext cx="342128" cy="343949"/>
            <a:chOff x="3095745" y="3805393"/>
            <a:chExt cx="352840" cy="354717"/>
          </a:xfrm>
        </p:grpSpPr>
        <p:sp>
          <p:nvSpPr>
            <p:cNvPr id="461" name="Google Shape;491;p27">
              <a:extLst>
                <a:ext uri="{FF2B5EF4-FFF2-40B4-BE49-F238E27FC236}">
                  <a16:creationId xmlns:a16="http://schemas.microsoft.com/office/drawing/2014/main" id="{F62097E5-D120-7C3A-F319-8FCB5DE98A06}"/>
                </a:ext>
              </a:extLst>
            </p:cNvPr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92;p27">
              <a:extLst>
                <a:ext uri="{FF2B5EF4-FFF2-40B4-BE49-F238E27FC236}">
                  <a16:creationId xmlns:a16="http://schemas.microsoft.com/office/drawing/2014/main" id="{47C249F0-E365-5459-F7FA-B61FF9BD6EFD}"/>
                </a:ext>
              </a:extLst>
            </p:cNvPr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93;p27">
              <a:extLst>
                <a:ext uri="{FF2B5EF4-FFF2-40B4-BE49-F238E27FC236}">
                  <a16:creationId xmlns:a16="http://schemas.microsoft.com/office/drawing/2014/main" id="{1619FE08-371E-E202-E61D-D09A447C5E49}"/>
                </a:ext>
              </a:extLst>
            </p:cNvPr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94;p27">
              <a:extLst>
                <a:ext uri="{FF2B5EF4-FFF2-40B4-BE49-F238E27FC236}">
                  <a16:creationId xmlns:a16="http://schemas.microsoft.com/office/drawing/2014/main" id="{4E336EA8-8C5A-0CF8-B5C2-716806B3BCAA}"/>
                </a:ext>
              </a:extLst>
            </p:cNvPr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95;p27">
              <a:extLst>
                <a:ext uri="{FF2B5EF4-FFF2-40B4-BE49-F238E27FC236}">
                  <a16:creationId xmlns:a16="http://schemas.microsoft.com/office/drawing/2014/main" id="{4F0055F9-B35F-BFD9-6176-7F8A6E075263}"/>
                </a:ext>
              </a:extLst>
            </p:cNvPr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96;p27">
              <a:extLst>
                <a:ext uri="{FF2B5EF4-FFF2-40B4-BE49-F238E27FC236}">
                  <a16:creationId xmlns:a16="http://schemas.microsoft.com/office/drawing/2014/main" id="{35756529-15D3-B6EE-13EA-D98D1EB6C935}"/>
                </a:ext>
              </a:extLst>
            </p:cNvPr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7" name="Google Shape;497;p27">
            <a:extLst>
              <a:ext uri="{FF2B5EF4-FFF2-40B4-BE49-F238E27FC236}">
                <a16:creationId xmlns:a16="http://schemas.microsoft.com/office/drawing/2014/main" id="{784CB79F-0960-1B9D-2115-ADD2E35F6D80}"/>
              </a:ext>
            </a:extLst>
          </p:cNvPr>
          <p:cNvGrpSpPr/>
          <p:nvPr/>
        </p:nvGrpSpPr>
        <p:grpSpPr>
          <a:xfrm>
            <a:off x="7403298" y="1684647"/>
            <a:ext cx="346044" cy="343968"/>
            <a:chOff x="3541011" y="3367320"/>
            <a:chExt cx="348257" cy="346188"/>
          </a:xfrm>
        </p:grpSpPr>
        <p:sp>
          <p:nvSpPr>
            <p:cNvPr id="468" name="Google Shape;498;p27">
              <a:extLst>
                <a:ext uri="{FF2B5EF4-FFF2-40B4-BE49-F238E27FC236}">
                  <a16:creationId xmlns:a16="http://schemas.microsoft.com/office/drawing/2014/main" id="{A98D9492-522F-E0E2-C78A-B90045BB7993}"/>
                </a:ext>
              </a:extLst>
            </p:cNvPr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99;p27">
              <a:extLst>
                <a:ext uri="{FF2B5EF4-FFF2-40B4-BE49-F238E27FC236}">
                  <a16:creationId xmlns:a16="http://schemas.microsoft.com/office/drawing/2014/main" id="{344563A5-D1B4-D80A-4620-8D1152A1D8A5}"/>
                </a:ext>
              </a:extLst>
            </p:cNvPr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500;p27">
              <a:extLst>
                <a:ext uri="{FF2B5EF4-FFF2-40B4-BE49-F238E27FC236}">
                  <a16:creationId xmlns:a16="http://schemas.microsoft.com/office/drawing/2014/main" id="{FF579824-32F7-7360-DFAF-43235A72E6FC}"/>
                </a:ext>
              </a:extLst>
            </p:cNvPr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1;p27">
              <a:extLst>
                <a:ext uri="{FF2B5EF4-FFF2-40B4-BE49-F238E27FC236}">
                  <a16:creationId xmlns:a16="http://schemas.microsoft.com/office/drawing/2014/main" id="{BFE6776F-E055-F7D5-5DAA-8C193249DD42}"/>
                </a:ext>
              </a:extLst>
            </p:cNvPr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/>
                <a:t>Reflection</a:t>
              </a:r>
              <a:endParaRPr lang="de-DE" dirty="0"/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69FB1"/>
                  </a:solidFill>
                </a:rPr>
                <a:t>06</a:t>
              </a:r>
            </a:p>
          </p:txBody>
        </p:sp>
      </p:grp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führ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auf Basis einer </a:t>
            </a:r>
            <a:r>
              <a:rPr lang="de-DE" sz="1400" b="1" dirty="0">
                <a:solidFill>
                  <a:srgbClr val="00CFCC"/>
                </a:solidFill>
              </a:rPr>
              <a:t>Kaufhistorie</a:t>
            </a:r>
            <a:r>
              <a:rPr lang="de-DE" sz="1400" dirty="0"/>
              <a:t> durch, um </a:t>
            </a:r>
            <a:r>
              <a:rPr lang="de-DE" sz="1400" b="1" dirty="0">
                <a:solidFill>
                  <a:srgbClr val="00CFCC"/>
                </a:solidFill>
              </a:rPr>
              <a:t>Assoziations-Regeln</a:t>
            </a:r>
            <a:r>
              <a:rPr lang="de-DE" sz="1400" dirty="0"/>
              <a:t>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Kaufen Kunden, die Kaffee kaufen, auch häufig Kuchen? 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CA68D0C-09FB-A625-CD6C-B0278CBF6105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27C1D71E-592D-F6BB-EA09-86C93B67BE2E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F63077E8-5CC1-551A-3A9A-3A7950DAC601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C796235-4598-8410-7D32-7EDBAFA67444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2323277F-84E5-DD05-CECD-9A0B1956483B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606C688-AA74-D82E-45BC-D652065D927E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1803090-6EBC-675B-9340-AE4F88A65751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0147B25-7F86-2F2E-87F4-5E520F79411E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B7F816A1-7321-B7F5-EB7F-5373EFE8050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AD1F83DA-8F40-950D-E0FD-6E1AC9C1930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3120AAD4-6658-DD27-278C-244F72F076D0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79260AB-49CE-C448-1ADE-91E1E7544338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0F51BDC2-27B2-8DEC-35AC-39203B6DB73C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68C7A059-94F8-5BCC-A39B-71B7F85E964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B1F71BC3-7A4B-826A-6E68-220E7DC9298E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28A5F707-DFAC-7B57-093C-2A266EA197C5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9E3154E4-2FAF-9C3E-4031-0B916852F24B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55FB4B6F-9447-5A44-C11B-EB9926ABAA8F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5D10ABB-632D-40CF-D52F-6BAB07A00344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CBE368A7-942B-CDA0-6296-F3DC268819BB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231B585A-4008-449C-F6F8-73CF4D9AC3D0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4" name="Google Shape;9903;p58">
              <a:extLst>
                <a:ext uri="{FF2B5EF4-FFF2-40B4-BE49-F238E27FC236}">
                  <a16:creationId xmlns:a16="http://schemas.microsoft.com/office/drawing/2014/main" id="{E5BF7AEB-F12C-EA78-8DEE-040A86A09FDB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1BBA9121-79C0-7C12-E97F-5F42E7AC4DFB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650D3D64-466A-B6FC-C257-D090B2DC0556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80ECF52D-413E-7C66-6006-9741F09CE342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5" name="Picture 4" descr="Market Basket Analysis">
              <a:extLst>
                <a:ext uri="{FF2B5EF4-FFF2-40B4-BE49-F238E27FC236}">
                  <a16:creationId xmlns:a16="http://schemas.microsoft.com/office/drawing/2014/main" id="{94ED2C78-E7FF-98A7-B4BD-A4665A581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6" name="Google Shape;11111;p60">
              <a:extLst>
                <a:ext uri="{FF2B5EF4-FFF2-40B4-BE49-F238E27FC236}">
                  <a16:creationId xmlns:a16="http://schemas.microsoft.com/office/drawing/2014/main" id="{EB82CFAF-A523-EE6B-97B6-CE98F6C49511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38" name="Google Shape;11112;p60">
                <a:extLst>
                  <a:ext uri="{FF2B5EF4-FFF2-40B4-BE49-F238E27FC236}">
                    <a16:creationId xmlns:a16="http://schemas.microsoft.com/office/drawing/2014/main" id="{5F172374-F2F0-9252-B322-301652038E7B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11113;p60">
                <a:extLst>
                  <a:ext uri="{FF2B5EF4-FFF2-40B4-BE49-F238E27FC236}">
                    <a16:creationId xmlns:a16="http://schemas.microsoft.com/office/drawing/2014/main" id="{95CCBA64-C461-08F3-8D03-F060516491EB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11114;p60">
                <a:extLst>
                  <a:ext uri="{FF2B5EF4-FFF2-40B4-BE49-F238E27FC236}">
                    <a16:creationId xmlns:a16="http://schemas.microsoft.com/office/drawing/2014/main" id="{B200889D-921E-C628-6DA4-445AA20F939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11115;p60">
                <a:extLst>
                  <a:ext uri="{FF2B5EF4-FFF2-40B4-BE49-F238E27FC236}">
                    <a16:creationId xmlns:a16="http://schemas.microsoft.com/office/drawing/2014/main" id="{DD7DD4E7-5CE4-097B-8C13-F8EFAFCBBCAE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11116;p60">
                <a:extLst>
                  <a:ext uri="{FF2B5EF4-FFF2-40B4-BE49-F238E27FC236}">
                    <a16:creationId xmlns:a16="http://schemas.microsoft.com/office/drawing/2014/main" id="{E4AB9AC3-0825-675B-A028-AE9B4DE945F7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7" name="Google Shape;13596;p64">
              <a:extLst>
                <a:ext uri="{FF2B5EF4-FFF2-40B4-BE49-F238E27FC236}">
                  <a16:creationId xmlns:a16="http://schemas.microsoft.com/office/drawing/2014/main" id="{BE1A41AF-3247-FEC1-7E42-E791D88E9C71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36" name="Google Shape;13597;p64">
                <a:extLst>
                  <a:ext uri="{FF2B5EF4-FFF2-40B4-BE49-F238E27FC236}">
                    <a16:creationId xmlns:a16="http://schemas.microsoft.com/office/drawing/2014/main" id="{052821A4-6A92-A105-3D70-1F187D7822B8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13598;p64">
                <a:extLst>
                  <a:ext uri="{FF2B5EF4-FFF2-40B4-BE49-F238E27FC236}">
                    <a16:creationId xmlns:a16="http://schemas.microsoft.com/office/drawing/2014/main" id="{25681056-5AE1-DB99-1E92-9ED7CB0E791A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8" name="Google Shape;13305;p64">
              <a:extLst>
                <a:ext uri="{FF2B5EF4-FFF2-40B4-BE49-F238E27FC236}">
                  <a16:creationId xmlns:a16="http://schemas.microsoft.com/office/drawing/2014/main" id="{F917936F-39C9-19C6-0CFA-1216BAC50B4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31" name="Google Shape;13306;p64">
                <a:extLst>
                  <a:ext uri="{FF2B5EF4-FFF2-40B4-BE49-F238E27FC236}">
                    <a16:creationId xmlns:a16="http://schemas.microsoft.com/office/drawing/2014/main" id="{368EE152-BEB2-F86D-91B4-8E22F2759BE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13307;p64">
                <a:extLst>
                  <a:ext uri="{FF2B5EF4-FFF2-40B4-BE49-F238E27FC236}">
                    <a16:creationId xmlns:a16="http://schemas.microsoft.com/office/drawing/2014/main" id="{FC2D4312-EB56-592C-ACEE-CDA91C942E06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13308;p64">
                <a:extLst>
                  <a:ext uri="{FF2B5EF4-FFF2-40B4-BE49-F238E27FC236}">
                    <a16:creationId xmlns:a16="http://schemas.microsoft.com/office/drawing/2014/main" id="{77A9A22A-398B-F9FF-1E65-279EE9D7CF68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13309;p64">
                <a:extLst>
                  <a:ext uri="{FF2B5EF4-FFF2-40B4-BE49-F238E27FC236}">
                    <a16:creationId xmlns:a16="http://schemas.microsoft.com/office/drawing/2014/main" id="{C4BADE5B-8755-055D-A828-43AAEB10B2C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13310;p64">
                <a:extLst>
                  <a:ext uri="{FF2B5EF4-FFF2-40B4-BE49-F238E27FC236}">
                    <a16:creationId xmlns:a16="http://schemas.microsoft.com/office/drawing/2014/main" id="{B4B256AA-C1DF-F38D-834D-6F3589BA9004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9" name="Grafik 28" descr="Money outline">
              <a:extLst>
                <a:ext uri="{FF2B5EF4-FFF2-40B4-BE49-F238E27FC236}">
                  <a16:creationId xmlns:a16="http://schemas.microsoft.com/office/drawing/2014/main" id="{8CA6E09A-51C2-3222-2CE5-3A9D437D0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30" name="Grafik 29" descr="Mandala outline">
              <a:extLst>
                <a:ext uri="{FF2B5EF4-FFF2-40B4-BE49-F238E27FC236}">
                  <a16:creationId xmlns:a16="http://schemas.microsoft.com/office/drawing/2014/main" id="{C154DB6E-66BC-EAE2-93F6-23A7290F1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werten die Kaufhistorie in </a:t>
            </a:r>
            <a:r>
              <a:rPr lang="de-DE" sz="1400" b="1" dirty="0">
                <a:solidFill>
                  <a:srgbClr val="FF9973"/>
                </a:solidFill>
              </a:rPr>
              <a:t>Verbindung mit Wetter-Daten</a:t>
            </a:r>
            <a:r>
              <a:rPr lang="de-DE" sz="1400" dirty="0"/>
              <a:t> sowie einem </a:t>
            </a:r>
            <a:r>
              <a:rPr lang="de-DE" sz="1400" b="1" dirty="0">
                <a:solidFill>
                  <a:srgbClr val="FF9973"/>
                </a:solidFill>
              </a:rPr>
              <a:t>Feiertagskalender</a:t>
            </a:r>
            <a:r>
              <a:rPr lang="de-DE" sz="1400" dirty="0"/>
              <a:t> aus, um </a:t>
            </a:r>
            <a:r>
              <a:rPr lang="de-DE" sz="1400" b="1" dirty="0">
                <a:solidFill>
                  <a:srgbClr val="FF9973"/>
                </a:solidFill>
              </a:rPr>
              <a:t>Zusammenhänge</a:t>
            </a:r>
            <a:r>
              <a:rPr lang="de-DE" sz="1400" dirty="0"/>
              <a:t> zu </a:t>
            </a:r>
            <a:r>
              <a:rPr lang="de-DE" sz="1400" b="1" dirty="0">
                <a:solidFill>
                  <a:srgbClr val="FF9973"/>
                </a:solidFill>
              </a:rPr>
              <a:t>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Werden an regnerischen Tagen mehr Heißgetränke verkauft?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AA981136-B4BF-E78E-037B-629C0F400B9F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3" name="Google Shape;13598;p64">
              <a:extLst>
                <a:ext uri="{FF2B5EF4-FFF2-40B4-BE49-F238E27FC236}">
                  <a16:creationId xmlns:a16="http://schemas.microsoft.com/office/drawing/2014/main" id="{8EC3D648-CB6A-087C-D0DF-F65937C8C0D6}"/>
                </a:ext>
              </a:extLst>
            </p:cNvPr>
            <p:cNvSpPr/>
            <p:nvPr/>
          </p:nvSpPr>
          <p:spPr>
            <a:xfrm>
              <a:off x="4922277" y="2781221"/>
              <a:ext cx="55843" cy="40496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pic>
        <p:nvPicPr>
          <p:cNvPr id="5" name="Grafik 4" descr="Teils sonnig mit einfarbiger Füllung">
            <a:extLst>
              <a:ext uri="{FF2B5EF4-FFF2-40B4-BE49-F238E27FC236}">
                <a16:creationId xmlns:a16="http://schemas.microsoft.com/office/drawing/2014/main" id="{6E1D1203-02AD-954A-5FE5-352AFCB0E3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21471" y="2027191"/>
            <a:ext cx="288000" cy="288000"/>
          </a:xfrm>
          <a:prstGeom prst="rect">
            <a:avLst/>
          </a:prstGeom>
        </p:spPr>
      </p:pic>
      <p:pic>
        <p:nvPicPr>
          <p:cNvPr id="7" name="Grafik 6" descr="Tageskalender mit einfarbiger Füllung">
            <a:extLst>
              <a:ext uri="{FF2B5EF4-FFF2-40B4-BE49-F238E27FC236}">
                <a16:creationId xmlns:a16="http://schemas.microsoft.com/office/drawing/2014/main" id="{855F1EA3-A721-2616-1E11-80B506D1DD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20113" y="2423675"/>
            <a:ext cx="319317" cy="31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5024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Die </a:t>
            </a:r>
            <a:r>
              <a:rPr lang="de-DE" sz="1400" dirty="0"/>
              <a:t>Analyse ermöglicht es dem Betreib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</a:t>
            </a:r>
            <a:r>
              <a:rPr lang="de-DE" sz="1400" b="1" dirty="0">
                <a:solidFill>
                  <a:srgbClr val="E898AC"/>
                </a:solidFill>
              </a:rPr>
              <a:t>umsatzsteigernde</a:t>
            </a:r>
            <a:r>
              <a:rPr lang="de-DE" sz="1400" dirty="0"/>
              <a:t> Marketing- und Verkaufsstrategien zu entwickel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Welche häufig zusammen gekaufte Artikel können wir als attraktives Angebot bewerben?</a:t>
            </a:r>
          </a:p>
        </p:txBody>
      </p:sp>
      <p:grpSp>
        <p:nvGrpSpPr>
          <p:cNvPr id="453" name="Gruppieren 452">
            <a:extLst>
              <a:ext uri="{FF2B5EF4-FFF2-40B4-BE49-F238E27FC236}">
                <a16:creationId xmlns:a16="http://schemas.microsoft.com/office/drawing/2014/main" id="{094D0897-3289-1069-7054-E5849BCB76FB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8F252DE5-9EBE-8927-A83F-FA8C7A3B45CB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C083BF5E-888B-B0B5-DD3D-F29133CD5DE9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FA9258A4-ECF9-D442-3F7E-163DB0D0D7B7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7" name="Flussdiagramm: Alternativer Prozess 456">
              <a:extLst>
                <a:ext uri="{FF2B5EF4-FFF2-40B4-BE49-F238E27FC236}">
                  <a16:creationId xmlns:a16="http://schemas.microsoft.com/office/drawing/2014/main" id="{90F7B899-32D2-6EEB-D5F8-DF087DC0A122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7A8B6F1-5414-C768-F8FA-E0EB538C3D2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9277DF0F-8269-D4C0-41D6-9501E1020C73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13B4F3A6-E612-5FC3-28F1-9CA1974D6F5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1" name="Flussdiagramm: Alternativer Prozess 460">
              <a:extLst>
                <a:ext uri="{FF2B5EF4-FFF2-40B4-BE49-F238E27FC236}">
                  <a16:creationId xmlns:a16="http://schemas.microsoft.com/office/drawing/2014/main" id="{F96EEDE2-9896-2E7B-1919-7D583624CE0A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2" name="Flussdiagramm: Alternativer Prozess 461">
              <a:extLst>
                <a:ext uri="{FF2B5EF4-FFF2-40B4-BE49-F238E27FC236}">
                  <a16:creationId xmlns:a16="http://schemas.microsoft.com/office/drawing/2014/main" id="{18F78A10-8A16-410C-F843-172AEF0A3093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3" name="Flussdiagramm: Alternativer Prozess 462">
              <a:extLst>
                <a:ext uri="{FF2B5EF4-FFF2-40B4-BE49-F238E27FC236}">
                  <a16:creationId xmlns:a16="http://schemas.microsoft.com/office/drawing/2014/main" id="{D7249293-4AF9-5E16-9116-04D1DACF6F61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4" name="Flussdiagramm: Alternativer Prozess 463">
              <a:extLst>
                <a:ext uri="{FF2B5EF4-FFF2-40B4-BE49-F238E27FC236}">
                  <a16:creationId xmlns:a16="http://schemas.microsoft.com/office/drawing/2014/main" id="{B03B3124-0E42-EC8D-B605-0F51083A7D1E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5" name="Flussdiagramm: Alternativer Prozess 464">
              <a:extLst>
                <a:ext uri="{FF2B5EF4-FFF2-40B4-BE49-F238E27FC236}">
                  <a16:creationId xmlns:a16="http://schemas.microsoft.com/office/drawing/2014/main" id="{68631453-C051-FA33-C20A-D9D41A6CFE15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6" name="Flussdiagramm: Alternativer Prozess 465">
              <a:extLst>
                <a:ext uri="{FF2B5EF4-FFF2-40B4-BE49-F238E27FC236}">
                  <a16:creationId xmlns:a16="http://schemas.microsoft.com/office/drawing/2014/main" id="{E3DA371B-C41E-711A-4280-BBF040C2697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7" name="Flussdiagramm: Alternativer Prozess 466">
              <a:extLst>
                <a:ext uri="{FF2B5EF4-FFF2-40B4-BE49-F238E27FC236}">
                  <a16:creationId xmlns:a16="http://schemas.microsoft.com/office/drawing/2014/main" id="{DF0DE4CE-A6B2-D78A-FB9F-50C0CE3AE552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8" name="Flussdiagramm: Alternativer Prozess 467">
              <a:extLst>
                <a:ext uri="{FF2B5EF4-FFF2-40B4-BE49-F238E27FC236}">
                  <a16:creationId xmlns:a16="http://schemas.microsoft.com/office/drawing/2014/main" id="{96864FC3-0B05-B42E-1211-23BCF515CCD6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9" name="Flussdiagramm: Alternativer Prozess 468">
              <a:extLst>
                <a:ext uri="{FF2B5EF4-FFF2-40B4-BE49-F238E27FC236}">
                  <a16:creationId xmlns:a16="http://schemas.microsoft.com/office/drawing/2014/main" id="{C1474C93-B781-E85B-7BFD-611026D8E37C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0" name="Flussdiagramm: Alternativer Prozess 469">
              <a:extLst>
                <a:ext uri="{FF2B5EF4-FFF2-40B4-BE49-F238E27FC236}">
                  <a16:creationId xmlns:a16="http://schemas.microsoft.com/office/drawing/2014/main" id="{E5C89215-5865-AC8C-55B2-2451E28DF96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1" name="Flussdiagramm: Alternativer Prozess 470">
              <a:extLst>
                <a:ext uri="{FF2B5EF4-FFF2-40B4-BE49-F238E27FC236}">
                  <a16:creationId xmlns:a16="http://schemas.microsoft.com/office/drawing/2014/main" id="{DE04BFAA-8488-E0FD-8671-7384B98A6435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2" name="Flussdiagramm: Alternativer Prozess 471">
              <a:extLst>
                <a:ext uri="{FF2B5EF4-FFF2-40B4-BE49-F238E27FC236}">
                  <a16:creationId xmlns:a16="http://schemas.microsoft.com/office/drawing/2014/main" id="{5554B115-82D4-429C-3E8F-4ED5955F8413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3" name="Flussdiagramm: Alternativer Prozess 472">
              <a:extLst>
                <a:ext uri="{FF2B5EF4-FFF2-40B4-BE49-F238E27FC236}">
                  <a16:creationId xmlns:a16="http://schemas.microsoft.com/office/drawing/2014/main" id="{C7102F75-5AF3-B095-C3A4-72E24A850C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74" name="Google Shape;9903;p58">
              <a:extLst>
                <a:ext uri="{FF2B5EF4-FFF2-40B4-BE49-F238E27FC236}">
                  <a16:creationId xmlns:a16="http://schemas.microsoft.com/office/drawing/2014/main" id="{89E80BC9-4E32-8546-54E3-691C34BE30E1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541" name="Google Shape;9904;p58">
                <a:extLst>
                  <a:ext uri="{FF2B5EF4-FFF2-40B4-BE49-F238E27FC236}">
                    <a16:creationId xmlns:a16="http://schemas.microsoft.com/office/drawing/2014/main" id="{6B40D4A0-B363-EF41-CF1A-1C21AF75F017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2" name="Google Shape;9905;p58">
                <a:extLst>
                  <a:ext uri="{FF2B5EF4-FFF2-40B4-BE49-F238E27FC236}">
                    <a16:creationId xmlns:a16="http://schemas.microsoft.com/office/drawing/2014/main" id="{795C95E9-6479-453B-8A52-B1AE7B565EC2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3" name="Google Shape;9906;p58">
                <a:extLst>
                  <a:ext uri="{FF2B5EF4-FFF2-40B4-BE49-F238E27FC236}">
                    <a16:creationId xmlns:a16="http://schemas.microsoft.com/office/drawing/2014/main" id="{769A9973-E5FB-B666-E51C-EB63DF7EA0B6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5" name="Picture 4" descr="Market Basket Analysis">
              <a:extLst>
                <a:ext uri="{FF2B5EF4-FFF2-40B4-BE49-F238E27FC236}">
                  <a16:creationId xmlns:a16="http://schemas.microsoft.com/office/drawing/2014/main" id="{58305391-55CB-2E49-930F-0652A2BC8F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6" name="Google Shape;11111;p60">
              <a:extLst>
                <a:ext uri="{FF2B5EF4-FFF2-40B4-BE49-F238E27FC236}">
                  <a16:creationId xmlns:a16="http://schemas.microsoft.com/office/drawing/2014/main" id="{17139FBB-0974-C4D1-0F3D-BCEC206E677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536" name="Google Shape;11112;p60">
                <a:extLst>
                  <a:ext uri="{FF2B5EF4-FFF2-40B4-BE49-F238E27FC236}">
                    <a16:creationId xmlns:a16="http://schemas.microsoft.com/office/drawing/2014/main" id="{DA16E7E1-1ED6-08E8-7BAC-814680EE087A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7" name="Google Shape;11113;p60">
                <a:extLst>
                  <a:ext uri="{FF2B5EF4-FFF2-40B4-BE49-F238E27FC236}">
                    <a16:creationId xmlns:a16="http://schemas.microsoft.com/office/drawing/2014/main" id="{92841EB6-30FE-504E-1E4E-4AAFA036F0DA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8" name="Google Shape;11114;p60">
                <a:extLst>
                  <a:ext uri="{FF2B5EF4-FFF2-40B4-BE49-F238E27FC236}">
                    <a16:creationId xmlns:a16="http://schemas.microsoft.com/office/drawing/2014/main" id="{A9E1A431-0BFF-C2A9-250F-BDB3AE0AE6CA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9" name="Google Shape;11115;p60">
                <a:extLst>
                  <a:ext uri="{FF2B5EF4-FFF2-40B4-BE49-F238E27FC236}">
                    <a16:creationId xmlns:a16="http://schemas.microsoft.com/office/drawing/2014/main" id="{999365C7-9BEE-5E3A-902D-266B0DB6B83C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0" name="Google Shape;11116;p60">
                <a:extLst>
                  <a:ext uri="{FF2B5EF4-FFF2-40B4-BE49-F238E27FC236}">
                    <a16:creationId xmlns:a16="http://schemas.microsoft.com/office/drawing/2014/main" id="{5D7772C1-9B28-B757-BD00-7F45B35F0C60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7" name="Google Shape;13596;p64">
              <a:extLst>
                <a:ext uri="{FF2B5EF4-FFF2-40B4-BE49-F238E27FC236}">
                  <a16:creationId xmlns:a16="http://schemas.microsoft.com/office/drawing/2014/main" id="{9806D204-ED71-372F-F37E-0617B92A6C0F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34" name="Google Shape;13597;p64">
                <a:extLst>
                  <a:ext uri="{FF2B5EF4-FFF2-40B4-BE49-F238E27FC236}">
                    <a16:creationId xmlns:a16="http://schemas.microsoft.com/office/drawing/2014/main" id="{C15F47A9-17E0-6920-F59E-C4631BBF88CD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5" name="Google Shape;13598;p64">
                <a:extLst>
                  <a:ext uri="{FF2B5EF4-FFF2-40B4-BE49-F238E27FC236}">
                    <a16:creationId xmlns:a16="http://schemas.microsoft.com/office/drawing/2014/main" id="{FFC6A91C-7EFB-C8AC-3130-FF45CE73B272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8" name="Google Shape;13305;p64">
              <a:extLst>
                <a:ext uri="{FF2B5EF4-FFF2-40B4-BE49-F238E27FC236}">
                  <a16:creationId xmlns:a16="http://schemas.microsoft.com/office/drawing/2014/main" id="{BBF5C3EE-DBEF-6876-6616-9D0580C71F11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01" name="Google Shape;13306;p64">
                <a:extLst>
                  <a:ext uri="{FF2B5EF4-FFF2-40B4-BE49-F238E27FC236}">
                    <a16:creationId xmlns:a16="http://schemas.microsoft.com/office/drawing/2014/main" id="{0DA27BB2-743E-9696-B887-1D133689852A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2" name="Google Shape;13307;p64">
                <a:extLst>
                  <a:ext uri="{FF2B5EF4-FFF2-40B4-BE49-F238E27FC236}">
                    <a16:creationId xmlns:a16="http://schemas.microsoft.com/office/drawing/2014/main" id="{40BC4788-81B0-9EF5-B3D2-5A2AB8311C3A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3" name="Google Shape;13308;p64">
                <a:extLst>
                  <a:ext uri="{FF2B5EF4-FFF2-40B4-BE49-F238E27FC236}">
                    <a16:creationId xmlns:a16="http://schemas.microsoft.com/office/drawing/2014/main" id="{0BE6F7E1-514D-0181-2592-8E88C38972F7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4" name="Google Shape;13309;p64">
                <a:extLst>
                  <a:ext uri="{FF2B5EF4-FFF2-40B4-BE49-F238E27FC236}">
                    <a16:creationId xmlns:a16="http://schemas.microsoft.com/office/drawing/2014/main" id="{DE96C2EC-F5E9-3BF8-46E5-A4FB6EB8FA72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5" name="Google Shape;13310;p64">
                <a:extLst>
                  <a:ext uri="{FF2B5EF4-FFF2-40B4-BE49-F238E27FC236}">
                    <a16:creationId xmlns:a16="http://schemas.microsoft.com/office/drawing/2014/main" id="{4A6D92A7-88CE-1B11-EA6D-3BA762239760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9" name="Grafik 478" descr="Money outline">
              <a:extLst>
                <a:ext uri="{FF2B5EF4-FFF2-40B4-BE49-F238E27FC236}">
                  <a16:creationId xmlns:a16="http://schemas.microsoft.com/office/drawing/2014/main" id="{9283B10E-1B17-FA4E-2472-5F6F7DFAC3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500" name="Grafik 499" descr="Mandala outline">
              <a:extLst>
                <a:ext uri="{FF2B5EF4-FFF2-40B4-BE49-F238E27FC236}">
                  <a16:creationId xmlns:a16="http://schemas.microsoft.com/office/drawing/2014/main" id="{EC716FED-5B75-B97E-78DB-E356484E6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6" name="Google Shape;666;p31"/>
          <p:cNvGrpSpPr/>
          <p:nvPr/>
        </p:nvGrpSpPr>
        <p:grpSpPr>
          <a:xfrm>
            <a:off x="3811494" y="353575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72202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93649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8208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203195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62268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83375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4244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Predictive Apriori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63555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</p:spTree>
    <p:extLst>
      <p:ext uri="{BB962C8B-B14F-4D97-AF65-F5344CB8AC3E}">
        <p14:creationId xmlns:p14="http://schemas.microsoft.com/office/powerpoint/2010/main" val="246315010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6681135" cy="577800"/>
          </a:xfrm>
        </p:spPr>
        <p:txBody>
          <a:bodyPr vert="horz"/>
          <a:lstStyle/>
          <a:p>
            <a:r>
              <a:rPr lang="de-DE" dirty="0" err="1"/>
              <a:t>Scope</a:t>
            </a:r>
            <a:r>
              <a:rPr lang="de-DE" dirty="0"/>
              <a:t> - 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1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üße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2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Milch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i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tat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3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Zu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szei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4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m Morge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ib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es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uffälligkei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szahl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chiedli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nter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w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November und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brua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n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zeichne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ier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tätig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6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significan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einfluss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as Wetter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nzahl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ù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7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regner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r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322058" y="1308948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Gemeinsam überarbeiten</a:t>
            </a: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34</Words>
  <Application>Microsoft Office PowerPoint</Application>
  <PresentationFormat>Bildschirmpräsentation (16:9)</PresentationFormat>
  <Paragraphs>892</Paragraphs>
  <Slides>81</Slides>
  <Notes>57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1</vt:i4>
      </vt:variant>
    </vt:vector>
  </HeadingPairs>
  <TitlesOfParts>
    <vt:vector size="101" baseType="lpstr">
      <vt:lpstr>Advent Pro Medium</vt:lpstr>
      <vt:lpstr>Proxima Nova</vt:lpstr>
      <vt:lpstr>Proxima Nova Semibold</vt:lpstr>
      <vt:lpstr>Maven Pro SemiBold</vt:lpstr>
      <vt:lpstr>Livvic Light</vt:lpstr>
      <vt:lpstr>Advent Pro SemiBold</vt:lpstr>
      <vt:lpstr>Maven Pro</vt:lpstr>
      <vt:lpstr>Roboto Medium</vt:lpstr>
      <vt:lpstr>Share Tech</vt:lpstr>
      <vt:lpstr>Fira Sans Condensed Medium</vt:lpstr>
      <vt:lpstr>Roboto</vt:lpstr>
      <vt:lpstr>Fira Sans Extra Condensed Medium</vt:lpstr>
      <vt:lpstr>Calibri</vt:lpstr>
      <vt:lpstr>Amatic SC</vt:lpstr>
      <vt:lpstr>Nunito Light</vt:lpstr>
      <vt:lpstr>Arial</vt:lpstr>
      <vt:lpstr>Data Science Consulting by Slidesgo</vt:lpstr>
      <vt:lpstr>Slidesgo Final Pages</vt:lpstr>
      <vt:lpstr>1_White Backgrounds</vt:lpstr>
      <vt:lpstr>think-cell Folie</vt:lpstr>
      <vt:lpstr>Assoziationsanalyse einer Bäckerei</vt:lpstr>
      <vt:lpstr>Data Preparation</vt:lpstr>
      <vt:lpstr>Data Preparation</vt:lpstr>
      <vt:lpstr>Einführung in den Usecase</vt:lpstr>
      <vt:lpstr>Scope</vt:lpstr>
      <vt:lpstr>Scope</vt:lpstr>
      <vt:lpstr>Scope</vt:lpstr>
      <vt:lpstr>Scope - Nutzen und Vergleich verschiedener Algorithmen in mehreren Iterationen</vt:lpstr>
      <vt:lpstr>Scope - Unterstützende Forschungsfragen</vt:lpstr>
      <vt:lpstr>Domain Exploration</vt:lpstr>
      <vt:lpstr>Domain Exploration – Selection of algorithm</vt:lpstr>
      <vt:lpstr>Comparison of Frequent Pattern Mining Algorithms</vt:lpstr>
      <vt:lpstr>Domain Exploration - Best Practices</vt:lpstr>
      <vt:lpstr>Domain Exploration – Dataset Overview</vt:lpstr>
      <vt:lpstr>Domain Exploration – Product overview</vt:lpstr>
      <vt:lpstr>Domain Exploration – Combine Datasets (1/2)</vt:lpstr>
      <vt:lpstr>Domain Exploration – Combine Datasets (2/2)</vt:lpstr>
      <vt:lpstr>Data Preparation</vt:lpstr>
      <vt:lpstr>Data Preparation</vt:lpstr>
      <vt:lpstr>Data Exploration</vt:lpstr>
      <vt:lpstr>Data Exploration</vt:lpstr>
      <vt:lpstr>Data Exploration</vt:lpstr>
      <vt:lpstr>Data Exploration</vt:lpstr>
      <vt:lpstr>Data Exploration</vt:lpstr>
      <vt:lpstr>Data Exploration</vt:lpstr>
      <vt:lpstr>Nutzen und Vergleich verschiedener Algorithmen in mehreren Iterationen</vt:lpstr>
      <vt:lpstr>Data Preparation</vt:lpstr>
      <vt:lpstr>Data Preparation</vt:lpstr>
      <vt:lpstr>Modeling - Ziel</vt:lpstr>
      <vt:lpstr>Modeling - Challenges</vt:lpstr>
      <vt:lpstr>Modeling - Challenges</vt:lpstr>
      <vt:lpstr>Modeling - Process</vt:lpstr>
      <vt:lpstr>Modeling - Process</vt:lpstr>
      <vt:lpstr>Modeling - Process</vt:lpstr>
      <vt:lpstr>Modeling - Process</vt:lpstr>
      <vt:lpstr>Data Preparation</vt:lpstr>
      <vt:lpstr>Results</vt:lpstr>
      <vt:lpstr>Results – Beantwortung der Forschungsfragen</vt:lpstr>
      <vt:lpstr>  Results – Examples for Business &amp; Marketing Recommendations</vt:lpstr>
      <vt:lpstr>Data Preparation</vt:lpstr>
      <vt:lpstr>Reflection</vt:lpstr>
      <vt:lpstr>Scope</vt:lpstr>
      <vt:lpstr>Selection of data set</vt:lpstr>
      <vt:lpstr>CONTENTS OF THIS TEMPLATE</vt:lpstr>
      <vt:lpstr>Data Preparation</vt:lpstr>
      <vt:lpstr>UNDERSTANDING THE PROBLEM</vt:lpstr>
      <vt:lpstr>DATASET OVERVIEW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er Benz</cp:lastModifiedBy>
  <cp:revision>74</cp:revision>
  <dcterms:modified xsi:type="dcterms:W3CDTF">2023-03-15T00:16:15Z</dcterms:modified>
</cp:coreProperties>
</file>